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2825" autoAdjust="0"/>
  </p:normalViewPr>
  <p:slideViewPr>
    <p:cSldViewPr snapToGrid="0">
      <p:cViewPr varScale="1">
        <p:scale>
          <a:sx n="148" d="100"/>
          <a:sy n="148" d="100"/>
        </p:scale>
        <p:origin x="1152" y="2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tatistics%20Case%20Stud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tatistics%20Case%20Stud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tatistics%20Case%20Stud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tatistics%20Case%20Stud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tatistics%20Case%20Study.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tatistics%20Case%20Study.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tatistics%20Case%20Study.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tatistics%20Case%20Study.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cap="none" spc="0" normalizeH="0" baseline="0">
                <a:solidFill>
                  <a:schemeClr val="tx1">
                    <a:lumMod val="65000"/>
                    <a:lumOff val="35000"/>
                  </a:schemeClr>
                </a:solidFill>
                <a:latin typeface="+mj-lt"/>
                <a:ea typeface="+mj-ea"/>
                <a:cs typeface="+mj-cs"/>
              </a:defRPr>
            </a:pPr>
            <a:r>
              <a:rPr lang="en-US"/>
              <a:t>Statistical Alarm Plot</a:t>
            </a:r>
          </a:p>
        </c:rich>
      </c:tx>
      <c:overlay val="0"/>
      <c:spPr>
        <a:noFill/>
        <a:ln>
          <a:noFill/>
        </a:ln>
        <a:effectLst/>
      </c:spPr>
      <c:txPr>
        <a:bodyPr rot="0" spcFirstLastPara="1" vertOverflow="ellipsis" vert="horz" wrap="square" anchor="ctr" anchorCtr="1"/>
        <a:lstStyle/>
        <a:p>
          <a:pPr>
            <a:defRPr sz="2000" b="0" i="0" u="none" strike="noStrike" kern="1200" cap="none" spc="0" normalizeH="0" baseline="0">
              <a:solidFill>
                <a:schemeClr val="tx1">
                  <a:lumMod val="65000"/>
                  <a:lumOff val="35000"/>
                </a:schemeClr>
              </a:solidFill>
              <a:latin typeface="+mj-lt"/>
              <a:ea typeface="+mj-ea"/>
              <a:cs typeface="+mj-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38100"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E8C3-0F48-8FA3-FF06215CD741}"/>
            </c:ext>
          </c:extLst>
        </c:ser>
        <c:dLbls>
          <c:showLegendKey val="0"/>
          <c:showVal val="0"/>
          <c:showCatName val="0"/>
          <c:showSerName val="0"/>
          <c:showPercent val="0"/>
          <c:showBubbleSize val="0"/>
        </c:dLbls>
        <c:marker val="1"/>
        <c:smooth val="0"/>
        <c:axId val="1575428528"/>
        <c:axId val="1575046624"/>
      </c:lineChart>
      <c:lineChart>
        <c:grouping val="standard"/>
        <c:varyColors val="0"/>
        <c:ser>
          <c:idx val="0"/>
          <c:order val="0"/>
          <c:tx>
            <c:strRef>
              <c:f>'Data Preparation'!$H$1</c:f>
              <c:strCache>
                <c:ptCount val="1"/>
                <c:pt idx="0">
                  <c:v>Horse Power</c:v>
                </c:pt>
              </c:strCache>
            </c:strRef>
          </c:tx>
          <c:spPr>
            <a:ln w="38100"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E8C3-0F48-8FA3-FF06215CD741}"/>
            </c:ext>
          </c:extLst>
        </c:ser>
        <c:ser>
          <c:idx val="2"/>
          <c:order val="2"/>
          <c:tx>
            <c:strRef>
              <c:f>'Data Preparation'!$J$1</c:f>
              <c:strCache>
                <c:ptCount val="1"/>
                <c:pt idx="0">
                  <c:v>PUMP FAILURE (1 or 0)</c:v>
                </c:pt>
              </c:strCache>
            </c:strRef>
          </c:tx>
          <c:spPr>
            <a:ln w="38100" cap="rnd">
              <a:solidFill>
                <a:schemeClr val="accent3"/>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E8C3-0F48-8FA3-FF06215CD741}"/>
            </c:ext>
          </c:extLst>
        </c:ser>
        <c:ser>
          <c:idx val="3"/>
          <c:order val="3"/>
          <c:tx>
            <c:strRef>
              <c:f>'Data Preparation'!$K$1</c:f>
              <c:strCache>
                <c:ptCount val="1"/>
                <c:pt idx="0">
                  <c:v>Regressive Equation</c:v>
                </c:pt>
              </c:strCache>
            </c:strRef>
          </c:tx>
          <c:spPr>
            <a:ln w="38100" cap="rnd">
              <a:solidFill>
                <a:schemeClr val="accent4"/>
              </a:solidFill>
              <a:round/>
            </a:ln>
            <a:effectLst/>
          </c:spPr>
          <c:marker>
            <c:symbol val="none"/>
          </c:marker>
          <c:val>
            <c:numRef>
              <c:f>'Data Preparation'!$K$2:$K$2455</c:f>
              <c:numCache>
                <c:formatCode>0.00</c:formatCode>
                <c:ptCount val="2454"/>
                <c:pt idx="0">
                  <c:v>1.4820213447531719E-2</c:v>
                </c:pt>
                <c:pt idx="1">
                  <c:v>1.0539898226143998E-2</c:v>
                </c:pt>
                <c:pt idx="2">
                  <c:v>1.1902577121473273E-3</c:v>
                </c:pt>
                <c:pt idx="3">
                  <c:v>-5.5078842420478308E-3</c:v>
                </c:pt>
                <c:pt idx="4">
                  <c:v>-1.5527162787453905E-2</c:v>
                </c:pt>
                <c:pt idx="5">
                  <c:v>-1.1199687398745314E-2</c:v>
                </c:pt>
                <c:pt idx="6">
                  <c:v>-9.8067542200871299E-3</c:v>
                </c:pt>
                <c:pt idx="7">
                  <c:v>-1.0273861741540088E-2</c:v>
                </c:pt>
                <c:pt idx="8">
                  <c:v>-7.7170131578646467E-3</c:v>
                </c:pt>
                <c:pt idx="9">
                  <c:v>-1.424883974693078E-3</c:v>
                </c:pt>
                <c:pt idx="10">
                  <c:v>-2.9652742554058115E-3</c:v>
                </c:pt>
                <c:pt idx="11">
                  <c:v>-7.3473960010771305E-3</c:v>
                </c:pt>
                <c:pt idx="12">
                  <c:v>-2.6094784477941196E-3</c:v>
                </c:pt>
                <c:pt idx="13">
                  <c:v>6.0357664221162427E-3</c:v>
                </c:pt>
                <c:pt idx="14">
                  <c:v>8.1097704004196164E-3</c:v>
                </c:pt>
                <c:pt idx="15">
                  <c:v>6.7168601961036384E-3</c:v>
                </c:pt>
                <c:pt idx="16">
                  <c:v>8.6893559137051352E-3</c:v>
                </c:pt>
                <c:pt idx="17">
                  <c:v>3.5278422200941822E-3</c:v>
                </c:pt>
                <c:pt idx="18">
                  <c:v>3.1986586114776255E-3</c:v>
                </c:pt>
                <c:pt idx="19">
                  <c:v>6.2870510574793009E-3</c:v>
                </c:pt>
                <c:pt idx="20">
                  <c:v>9.1470912462886661E-3</c:v>
                </c:pt>
                <c:pt idx="21">
                  <c:v>1.6056677445816972E-2</c:v>
                </c:pt>
                <c:pt idx="22">
                  <c:v>1.7608738262927651E-2</c:v>
                </c:pt>
                <c:pt idx="23">
                  <c:v>2.2132621475554295E-2</c:v>
                </c:pt>
                <c:pt idx="24">
                  <c:v>1.7483293918454948E-2</c:v>
                </c:pt>
                <c:pt idx="25">
                  <c:v>1.6107750563169501E-2</c:v>
                </c:pt>
                <c:pt idx="26">
                  <c:v>1.4344134201431449E-2</c:v>
                </c:pt>
                <c:pt idx="27">
                  <c:v>-3.6496510526872056E-3</c:v>
                </c:pt>
                <c:pt idx="28">
                  <c:v>5.0349540038370361E-3</c:v>
                </c:pt>
                <c:pt idx="29">
                  <c:v>-2.018344662792812E-3</c:v>
                </c:pt>
                <c:pt idx="30">
                  <c:v>-8.3806687678771169E-3</c:v>
                </c:pt>
                <c:pt idx="31">
                  <c:v>-7.8110966622226691E-3</c:v>
                </c:pt>
                <c:pt idx="32">
                  <c:v>8.749768456064469E-3</c:v>
                </c:pt>
                <c:pt idx="33">
                  <c:v>1.1939033654864831E-2</c:v>
                </c:pt>
                <c:pt idx="34">
                  <c:v>1.6739707460911704E-2</c:v>
                </c:pt>
                <c:pt idx="35">
                  <c:v>2.5367476319482357E-3</c:v>
                </c:pt>
                <c:pt idx="36">
                  <c:v>-6.2785784284551255E-3</c:v>
                </c:pt>
                <c:pt idx="37">
                  <c:v>-5.7169967317565046E-3</c:v>
                </c:pt>
                <c:pt idx="38">
                  <c:v>-5.2288964313636915E-3</c:v>
                </c:pt>
                <c:pt idx="39">
                  <c:v>-1.3100766991214971E-2</c:v>
                </c:pt>
                <c:pt idx="40">
                  <c:v>-1.5174013299349629E-2</c:v>
                </c:pt>
                <c:pt idx="41">
                  <c:v>-1.6831255230483996E-2</c:v>
                </c:pt>
                <c:pt idx="42">
                  <c:v>-2.1752639629427514E-2</c:v>
                </c:pt>
                <c:pt idx="43">
                  <c:v>-2.3065816328839847E-2</c:v>
                </c:pt>
                <c:pt idx="44">
                  <c:v>-3.6534236188470168E-2</c:v>
                </c:pt>
                <c:pt idx="45">
                  <c:v>-4.4313839053235368E-2</c:v>
                </c:pt>
                <c:pt idx="46">
                  <c:v>-5.2534185879892323E-2</c:v>
                </c:pt>
                <c:pt idx="47">
                  <c:v>-5.1614433651344202E-2</c:v>
                </c:pt>
                <c:pt idx="48">
                  <c:v>-5.8141884144575315E-2</c:v>
                </c:pt>
                <c:pt idx="49">
                  <c:v>-4.6807803965268166E-2</c:v>
                </c:pt>
                <c:pt idx="50">
                  <c:v>-5.591165108174577E-2</c:v>
                </c:pt>
                <c:pt idx="51">
                  <c:v>-5.6638815490572689E-2</c:v>
                </c:pt>
                <c:pt idx="52">
                  <c:v>-5.5370335279105717E-2</c:v>
                </c:pt>
                <c:pt idx="53">
                  <c:v>-5.2568191009411555E-2</c:v>
                </c:pt>
                <c:pt idx="54">
                  <c:v>-4.7765442962987223E-2</c:v>
                </c:pt>
                <c:pt idx="55">
                  <c:v>-3.8750243140366999E-2</c:v>
                </c:pt>
                <c:pt idx="56">
                  <c:v>-3.6318497250835566E-2</c:v>
                </c:pt>
                <c:pt idx="57">
                  <c:v>-2.5572465018303334E-2</c:v>
                </c:pt>
                <c:pt idx="58">
                  <c:v>-2.3778139196146117E-2</c:v>
                </c:pt>
                <c:pt idx="59">
                  <c:v>-2.8843364031246529E-2</c:v>
                </c:pt>
                <c:pt idx="60">
                  <c:v>-3.4094880613881537E-2</c:v>
                </c:pt>
                <c:pt idx="61">
                  <c:v>-3.3878566500450721E-2</c:v>
                </c:pt>
                <c:pt idx="62">
                  <c:v>-3.8873037317052148E-2</c:v>
                </c:pt>
                <c:pt idx="63">
                  <c:v>-3.98753668916043E-2</c:v>
                </c:pt>
                <c:pt idx="64">
                  <c:v>-3.5612362041987464E-2</c:v>
                </c:pt>
                <c:pt idx="65">
                  <c:v>-3.0781279535154291E-2</c:v>
                </c:pt>
                <c:pt idx="66">
                  <c:v>-2.3663887764259303E-2</c:v>
                </c:pt>
                <c:pt idx="67">
                  <c:v>-2.0762045178595576E-2</c:v>
                </c:pt>
                <c:pt idx="68">
                  <c:v>-1.9971112386356168E-2</c:v>
                </c:pt>
                <c:pt idx="69">
                  <c:v>-1.3399585525175603E-2</c:v>
                </c:pt>
                <c:pt idx="70">
                  <c:v>-1.2344732194868965E-2</c:v>
                </c:pt>
                <c:pt idx="71">
                  <c:v>-2.382073780484148E-3</c:v>
                </c:pt>
                <c:pt idx="72">
                  <c:v>-7.0224830691172219E-3</c:v>
                </c:pt>
                <c:pt idx="73">
                  <c:v>-1.1420194003369785E-2</c:v>
                </c:pt>
                <c:pt idx="74">
                  <c:v>-2.8872117559585048E-3</c:v>
                </c:pt>
                <c:pt idx="75">
                  <c:v>-3.0935025009562883E-3</c:v>
                </c:pt>
                <c:pt idx="76">
                  <c:v>-9.8029922557528598E-3</c:v>
                </c:pt>
                <c:pt idx="77">
                  <c:v>-1.6430760272387865E-2</c:v>
                </c:pt>
                <c:pt idx="78">
                  <c:v>-2.1531316489604921E-2</c:v>
                </c:pt>
                <c:pt idx="79">
                  <c:v>-2.0689454826870221E-2</c:v>
                </c:pt>
                <c:pt idx="80">
                  <c:v>-1.7297876693313272E-2</c:v>
                </c:pt>
                <c:pt idx="81">
                  <c:v>-8.6309274808239328E-3</c:v>
                </c:pt>
                <c:pt idx="82">
                  <c:v>-1.6886754901466947E-2</c:v>
                </c:pt>
                <c:pt idx="83">
                  <c:v>-2.6619444738514061E-2</c:v>
                </c:pt>
                <c:pt idx="84">
                  <c:v>-2.3929297720216E-2</c:v>
                </c:pt>
                <c:pt idx="85">
                  <c:v>-3.7529340029132316E-2</c:v>
                </c:pt>
                <c:pt idx="86">
                  <c:v>-4.2593694734722173E-2</c:v>
                </c:pt>
                <c:pt idx="87">
                  <c:v>-5.4828470831797524E-2</c:v>
                </c:pt>
                <c:pt idx="88">
                  <c:v>-6.8046784603059449E-2</c:v>
                </c:pt>
                <c:pt idx="89">
                  <c:v>-5.7856608679683327E-2</c:v>
                </c:pt>
                <c:pt idx="90">
                  <c:v>-5.0319116338796585E-2</c:v>
                </c:pt>
                <c:pt idx="91">
                  <c:v>-5.2652802248583583E-2</c:v>
                </c:pt>
                <c:pt idx="92">
                  <c:v>-5.5650551677770541E-2</c:v>
                </c:pt>
                <c:pt idx="93">
                  <c:v>-4.6474990404254166E-2</c:v>
                </c:pt>
                <c:pt idx="94">
                  <c:v>-5.8292653872239572E-2</c:v>
                </c:pt>
                <c:pt idx="95">
                  <c:v>-5.2184861515491496E-2</c:v>
                </c:pt>
                <c:pt idx="96">
                  <c:v>-4.7925204067932423E-2</c:v>
                </c:pt>
                <c:pt idx="97">
                  <c:v>-4.875341138353205E-2</c:v>
                </c:pt>
                <c:pt idx="98">
                  <c:v>-5.2671380086870653E-2</c:v>
                </c:pt>
                <c:pt idx="99">
                  <c:v>-5.4143521089362254E-2</c:v>
                </c:pt>
                <c:pt idx="100">
                  <c:v>-5.2306774199352687E-2</c:v>
                </c:pt>
                <c:pt idx="101">
                  <c:v>-5.7920089392241123E-2</c:v>
                </c:pt>
                <c:pt idx="102">
                  <c:v>-4.9709168990166516E-2</c:v>
                </c:pt>
                <c:pt idx="103">
                  <c:v>-4.3493887307884269E-2</c:v>
                </c:pt>
                <c:pt idx="104">
                  <c:v>-3.8767056301587152E-2</c:v>
                </c:pt>
                <c:pt idx="105">
                  <c:v>-4.1444829942880443E-2</c:v>
                </c:pt>
                <c:pt idx="106">
                  <c:v>-3.4377366548778085E-2</c:v>
                </c:pt>
                <c:pt idx="107">
                  <c:v>-2.4962885347425509E-2</c:v>
                </c:pt>
                <c:pt idx="108">
                  <c:v>-3.4331052932572201E-2</c:v>
                </c:pt>
                <c:pt idx="109">
                  <c:v>-3.4958823383439905E-2</c:v>
                </c:pt>
                <c:pt idx="110">
                  <c:v>-3.4418650756931832E-2</c:v>
                </c:pt>
                <c:pt idx="111">
                  <c:v>-4.0914312521354787E-2</c:v>
                </c:pt>
                <c:pt idx="112">
                  <c:v>-4.6559982661770624E-2</c:v>
                </c:pt>
                <c:pt idx="113">
                  <c:v>-4.9545961106027589E-2</c:v>
                </c:pt>
                <c:pt idx="114">
                  <c:v>-5.5893200822744724E-2</c:v>
                </c:pt>
                <c:pt idx="115">
                  <c:v>-5.1986416499562579E-2</c:v>
                </c:pt>
                <c:pt idx="116">
                  <c:v>-5.5117018298625128E-2</c:v>
                </c:pt>
                <c:pt idx="117">
                  <c:v>-3.9430284529440404E-2</c:v>
                </c:pt>
                <c:pt idx="118">
                  <c:v>-3.0360608361628891E-2</c:v>
                </c:pt>
                <c:pt idx="119">
                  <c:v>-4.3770412209846551E-2</c:v>
                </c:pt>
                <c:pt idx="120">
                  <c:v>-5.2764677973803562E-2</c:v>
                </c:pt>
                <c:pt idx="121">
                  <c:v>-6.085720910140234E-2</c:v>
                </c:pt>
                <c:pt idx="122">
                  <c:v>-5.3471529331033815E-2</c:v>
                </c:pt>
                <c:pt idx="123">
                  <c:v>-5.6897133704173916E-2</c:v>
                </c:pt>
                <c:pt idx="124">
                  <c:v>-4.1055259121404494E-2</c:v>
                </c:pt>
                <c:pt idx="125">
                  <c:v>-4.2256223948522673E-2</c:v>
                </c:pt>
                <c:pt idx="126">
                  <c:v>-4.5922098460878122E-2</c:v>
                </c:pt>
                <c:pt idx="127">
                  <c:v>-4.7263062694628641E-2</c:v>
                </c:pt>
                <c:pt idx="128">
                  <c:v>-3.4082427948563407E-2</c:v>
                </c:pt>
                <c:pt idx="129">
                  <c:v>-3.2490513159561626E-2</c:v>
                </c:pt>
                <c:pt idx="130">
                  <c:v>-3.8092899997403049E-2</c:v>
                </c:pt>
                <c:pt idx="131">
                  <c:v>-3.0342978854464783E-2</c:v>
                </c:pt>
                <c:pt idx="132">
                  <c:v>-4.8005222465125938E-2</c:v>
                </c:pt>
                <c:pt idx="133">
                  <c:v>-5.4993956017184251E-2</c:v>
                </c:pt>
                <c:pt idx="134">
                  <c:v>-5.9994700222698358E-2</c:v>
                </c:pt>
                <c:pt idx="135">
                  <c:v>-5.0362538933427445E-2</c:v>
                </c:pt>
                <c:pt idx="136">
                  <c:v>-4.7713435249168587E-2</c:v>
                </c:pt>
                <c:pt idx="137">
                  <c:v>-4.8730797594519024E-2</c:v>
                </c:pt>
                <c:pt idx="138">
                  <c:v>-3.2641424522584547E-2</c:v>
                </c:pt>
                <c:pt idx="139">
                  <c:v>-3.1328827901319509E-2</c:v>
                </c:pt>
                <c:pt idx="140">
                  <c:v>-2.7990485877920954E-2</c:v>
                </c:pt>
                <c:pt idx="141">
                  <c:v>-2.8549572509646834E-2</c:v>
                </c:pt>
                <c:pt idx="142">
                  <c:v>-9.5292063884874073E-3</c:v>
                </c:pt>
                <c:pt idx="143">
                  <c:v>1.2308875578244255E-3</c:v>
                </c:pt>
                <c:pt idx="144">
                  <c:v>6.7673809623082365E-3</c:v>
                </c:pt>
                <c:pt idx="145">
                  <c:v>1.8093498332516514E-2</c:v>
                </c:pt>
                <c:pt idx="146">
                  <c:v>2.4782988121780383E-2</c:v>
                </c:pt>
                <c:pt idx="147">
                  <c:v>1.9719119678642164E-2</c:v>
                </c:pt>
                <c:pt idx="148">
                  <c:v>2.6191679202775112E-2</c:v>
                </c:pt>
                <c:pt idx="149">
                  <c:v>3.0102354605465079E-2</c:v>
                </c:pt>
                <c:pt idx="150">
                  <c:v>3.3158652515573608E-2</c:v>
                </c:pt>
                <c:pt idx="151">
                  <c:v>3.4280107562286735E-2</c:v>
                </c:pt>
                <c:pt idx="152">
                  <c:v>3.4120970474914927E-2</c:v>
                </c:pt>
                <c:pt idx="153">
                  <c:v>3.978664947626899E-2</c:v>
                </c:pt>
                <c:pt idx="154">
                  <c:v>4.0710239946768714E-2</c:v>
                </c:pt>
                <c:pt idx="155">
                  <c:v>3.9485157351868652E-2</c:v>
                </c:pt>
                <c:pt idx="156">
                  <c:v>4.0098306204494186E-2</c:v>
                </c:pt>
                <c:pt idx="157">
                  <c:v>4.0022823928578047E-2</c:v>
                </c:pt>
                <c:pt idx="158">
                  <c:v>1.9346740275906341E-2</c:v>
                </c:pt>
                <c:pt idx="159">
                  <c:v>1.5376994602587138E-2</c:v>
                </c:pt>
                <c:pt idx="160">
                  <c:v>1.9524472953951114E-2</c:v>
                </c:pt>
                <c:pt idx="161">
                  <c:v>1.6186236121747535E-2</c:v>
                </c:pt>
                <c:pt idx="162">
                  <c:v>1.7179687347839936E-2</c:v>
                </c:pt>
                <c:pt idx="163">
                  <c:v>2.4392799364154297E-2</c:v>
                </c:pt>
                <c:pt idx="164">
                  <c:v>2.2795844409121982E-2</c:v>
                </c:pt>
                <c:pt idx="165">
                  <c:v>2.6108625618122563E-2</c:v>
                </c:pt>
                <c:pt idx="166">
                  <c:v>1.1513173683892278E-2</c:v>
                </c:pt>
                <c:pt idx="167">
                  <c:v>8.0199264591959279E-3</c:v>
                </c:pt>
                <c:pt idx="168">
                  <c:v>5.6395254760137764E-3</c:v>
                </c:pt>
                <c:pt idx="169">
                  <c:v>2.1557523777641224E-3</c:v>
                </c:pt>
                <c:pt idx="170">
                  <c:v>-2.6193173285250365E-3</c:v>
                </c:pt>
                <c:pt idx="171">
                  <c:v>-3.3883872619780847E-3</c:v>
                </c:pt>
                <c:pt idx="172">
                  <c:v>-5.2427845374625054E-3</c:v>
                </c:pt>
                <c:pt idx="173">
                  <c:v>-7.2736981922044558E-3</c:v>
                </c:pt>
                <c:pt idx="174">
                  <c:v>-1.5501357872302543E-2</c:v>
                </c:pt>
                <c:pt idx="175">
                  <c:v>-1.6873729424464731E-2</c:v>
                </c:pt>
                <c:pt idx="176">
                  <c:v>-1.8550102983173375E-2</c:v>
                </c:pt>
                <c:pt idx="177">
                  <c:v>-6.5058187418595009E-3</c:v>
                </c:pt>
                <c:pt idx="178">
                  <c:v>-1.3456509875228936E-2</c:v>
                </c:pt>
                <c:pt idx="179">
                  <c:v>-1.1815894416045233E-2</c:v>
                </c:pt>
                <c:pt idx="180">
                  <c:v>-6.3787038295528425E-3</c:v>
                </c:pt>
                <c:pt idx="181">
                  <c:v>-1.5826816714129097E-2</c:v>
                </c:pt>
                <c:pt idx="182">
                  <c:v>-2.1649106480180577E-2</c:v>
                </c:pt>
                <c:pt idx="183">
                  <c:v>-2.2893910283160554E-2</c:v>
                </c:pt>
                <c:pt idx="184">
                  <c:v>-2.3511148341350249E-2</c:v>
                </c:pt>
                <c:pt idx="185">
                  <c:v>-2.071851678048385E-2</c:v>
                </c:pt>
                <c:pt idx="186">
                  <c:v>-2.8563844682621506E-2</c:v>
                </c:pt>
                <c:pt idx="187">
                  <c:v>-3.8262998601098927E-2</c:v>
                </c:pt>
                <c:pt idx="188">
                  <c:v>-3.0092070511468658E-2</c:v>
                </c:pt>
                <c:pt idx="189">
                  <c:v>-2.9503499951736609E-2</c:v>
                </c:pt>
                <c:pt idx="190">
                  <c:v>-4.9852824935236892E-2</c:v>
                </c:pt>
                <c:pt idx="191">
                  <c:v>-4.8370209967603869E-2</c:v>
                </c:pt>
                <c:pt idx="192">
                  <c:v>-4.6719049789084352E-2</c:v>
                </c:pt>
                <c:pt idx="193">
                  <c:v>-5.3382012858558689E-2</c:v>
                </c:pt>
                <c:pt idx="194">
                  <c:v>-5.175306485411689E-2</c:v>
                </c:pt>
                <c:pt idx="195">
                  <c:v>-5.0518914699439019E-2</c:v>
                </c:pt>
                <c:pt idx="196">
                  <c:v>-5.0326519925501842E-2</c:v>
                </c:pt>
                <c:pt idx="197">
                  <c:v>-5.2810132965025555E-2</c:v>
                </c:pt>
                <c:pt idx="198">
                  <c:v>-5.3635108010900198E-2</c:v>
                </c:pt>
                <c:pt idx="199">
                  <c:v>-4.2260776034057077E-2</c:v>
                </c:pt>
                <c:pt idx="200">
                  <c:v>-3.7048876698330221E-2</c:v>
                </c:pt>
                <c:pt idx="201">
                  <c:v>-3.7171748211590291E-2</c:v>
                </c:pt>
                <c:pt idx="202">
                  <c:v>-3.6681576302047034E-2</c:v>
                </c:pt>
                <c:pt idx="203">
                  <c:v>-3.4605598985719119E-2</c:v>
                </c:pt>
                <c:pt idx="204">
                  <c:v>-3.2569450965103539E-2</c:v>
                </c:pt>
                <c:pt idx="205">
                  <c:v>-4.0561685298361114E-2</c:v>
                </c:pt>
                <c:pt idx="206">
                  <c:v>-4.050425057475858E-2</c:v>
                </c:pt>
                <c:pt idx="207">
                  <c:v>-4.5015962014557029E-2</c:v>
                </c:pt>
                <c:pt idx="208">
                  <c:v>-4.6505665275023408E-2</c:v>
                </c:pt>
                <c:pt idx="209">
                  <c:v>-5.1395309873018755E-2</c:v>
                </c:pt>
                <c:pt idx="210">
                  <c:v>-5.1133542800521278E-2</c:v>
                </c:pt>
                <c:pt idx="211">
                  <c:v>-4.3428436584403748E-2</c:v>
                </c:pt>
                <c:pt idx="212">
                  <c:v>-3.4806995559009887E-2</c:v>
                </c:pt>
                <c:pt idx="213">
                  <c:v>-3.8102072946534435E-2</c:v>
                </c:pt>
                <c:pt idx="214">
                  <c:v>-8.4340589008774156E-2</c:v>
                </c:pt>
                <c:pt idx="215">
                  <c:v>-0.10696194110795863</c:v>
                </c:pt>
                <c:pt idx="216">
                  <c:v>-0.13600734079107291</c:v>
                </c:pt>
                <c:pt idx="217">
                  <c:v>-0.16391675827119778</c:v>
                </c:pt>
                <c:pt idx="218">
                  <c:v>-0.12704005897665105</c:v>
                </c:pt>
                <c:pt idx="219">
                  <c:v>-5.6363775829047821E-2</c:v>
                </c:pt>
                <c:pt idx="220">
                  <c:v>-8.697209297480267E-2</c:v>
                </c:pt>
                <c:pt idx="221">
                  <c:v>-8.6511348788127926E-2</c:v>
                </c:pt>
                <c:pt idx="222">
                  <c:v>-8.1360481838721452E-2</c:v>
                </c:pt>
                <c:pt idx="223">
                  <c:v>-6.8366996673697153E-2</c:v>
                </c:pt>
                <c:pt idx="224">
                  <c:v>-3.5882936800106777E-2</c:v>
                </c:pt>
                <c:pt idx="225">
                  <c:v>-4.5863106846751753E-2</c:v>
                </c:pt>
                <c:pt idx="226">
                  <c:v>-4.0834851808919312E-2</c:v>
                </c:pt>
                <c:pt idx="227">
                  <c:v>-3.9749181911649209E-2</c:v>
                </c:pt>
                <c:pt idx="228">
                  <c:v>5.5625230201640369E-3</c:v>
                </c:pt>
                <c:pt idx="229">
                  <c:v>-5.1614143330599299E-3</c:v>
                </c:pt>
                <c:pt idx="230">
                  <c:v>-1.9420429691505356E-2</c:v>
                </c:pt>
                <c:pt idx="231">
                  <c:v>-4.5447022708916401E-3</c:v>
                </c:pt>
                <c:pt idx="232">
                  <c:v>-4.5359266565643694E-2</c:v>
                </c:pt>
                <c:pt idx="233">
                  <c:v>-6.5563511875656552E-2</c:v>
                </c:pt>
                <c:pt idx="234">
                  <c:v>-6.4582620768587215E-2</c:v>
                </c:pt>
                <c:pt idx="235">
                  <c:v>-6.1032489633879514E-2</c:v>
                </c:pt>
                <c:pt idx="236">
                  <c:v>-6.9888145708596902E-2</c:v>
                </c:pt>
                <c:pt idx="237">
                  <c:v>-7.3699768156153297E-2</c:v>
                </c:pt>
                <c:pt idx="238">
                  <c:v>-8.6311563743953976E-2</c:v>
                </c:pt>
                <c:pt idx="239">
                  <c:v>-4.1851781848966305E-2</c:v>
                </c:pt>
                <c:pt idx="240">
                  <c:v>-7.2788936659186051E-2</c:v>
                </c:pt>
                <c:pt idx="241">
                  <c:v>-8.2601931061861075E-2</c:v>
                </c:pt>
                <c:pt idx="242">
                  <c:v>-0.10724332660829182</c:v>
                </c:pt>
                <c:pt idx="243">
                  <c:v>-0.13800133649840474</c:v>
                </c:pt>
                <c:pt idx="244">
                  <c:v>-0.12398081982252716</c:v>
                </c:pt>
                <c:pt idx="245">
                  <c:v>-0.10083992056070699</c:v>
                </c:pt>
                <c:pt idx="246">
                  <c:v>-0.11175981121028698</c:v>
                </c:pt>
                <c:pt idx="247">
                  <c:v>-8.5177643175258097E-2</c:v>
                </c:pt>
                <c:pt idx="248">
                  <c:v>-9.4742238303351475E-2</c:v>
                </c:pt>
                <c:pt idx="249">
                  <c:v>-0.10798162268035026</c:v>
                </c:pt>
                <c:pt idx="250">
                  <c:v>-6.499718416159149E-2</c:v>
                </c:pt>
                <c:pt idx="251">
                  <c:v>-9.644937332450941E-2</c:v>
                </c:pt>
                <c:pt idx="252">
                  <c:v>-0.11287460912965729</c:v>
                </c:pt>
                <c:pt idx="253">
                  <c:v>-0.1213175096910528</c:v>
                </c:pt>
                <c:pt idx="254">
                  <c:v>-0.1453677450379337</c:v>
                </c:pt>
                <c:pt idx="255">
                  <c:v>-0.12258876801996908</c:v>
                </c:pt>
                <c:pt idx="256">
                  <c:v>-0.13853404278022041</c:v>
                </c:pt>
                <c:pt idx="257">
                  <c:v>-0.1795172318240924</c:v>
                </c:pt>
                <c:pt idx="258">
                  <c:v>-0.15374246436889805</c:v>
                </c:pt>
                <c:pt idx="259">
                  <c:v>-0.14620668669728565</c:v>
                </c:pt>
                <c:pt idx="260">
                  <c:v>-0.11413821933049804</c:v>
                </c:pt>
                <c:pt idx="261">
                  <c:v>-0.10388834450714822</c:v>
                </c:pt>
                <c:pt idx="262">
                  <c:v>-7.5138652514072132E-2</c:v>
                </c:pt>
                <c:pt idx="263">
                  <c:v>-7.0650163126336971E-2</c:v>
                </c:pt>
                <c:pt idx="264">
                  <c:v>-5.6351749218747624E-2</c:v>
                </c:pt>
                <c:pt idx="265">
                  <c:v>-3.2312227670049473E-2</c:v>
                </c:pt>
                <c:pt idx="266">
                  <c:v>-2.3451306000174296E-2</c:v>
                </c:pt>
                <c:pt idx="267">
                  <c:v>-1.3508476883067763E-2</c:v>
                </c:pt>
                <c:pt idx="268">
                  <c:v>2.5058015103010214E-2</c:v>
                </c:pt>
                <c:pt idx="269">
                  <c:v>4.9785264834981829E-3</c:v>
                </c:pt>
                <c:pt idx="270">
                  <c:v>5.7791972370344627E-2</c:v>
                </c:pt>
                <c:pt idx="271">
                  <c:v>7.9032753049582474E-2</c:v>
                </c:pt>
                <c:pt idx="272">
                  <c:v>7.8267594165792112E-2</c:v>
                </c:pt>
                <c:pt idx="273">
                  <c:v>6.0211268527592191E-2</c:v>
                </c:pt>
                <c:pt idx="274">
                  <c:v>5.3507957195151015E-2</c:v>
                </c:pt>
                <c:pt idx="275">
                  <c:v>4.5394747396896654E-2</c:v>
                </c:pt>
                <c:pt idx="276">
                  <c:v>1.1501255024423021E-2</c:v>
                </c:pt>
                <c:pt idx="277">
                  <c:v>-3.5792534080137037E-2</c:v>
                </c:pt>
                <c:pt idx="278">
                  <c:v>1.1347940589835695E-2</c:v>
                </c:pt>
                <c:pt idx="279">
                  <c:v>-8.2306831455910417E-3</c:v>
                </c:pt>
                <c:pt idx="280">
                  <c:v>-6.8854051867683994E-2</c:v>
                </c:pt>
                <c:pt idx="281">
                  <c:v>-2.6748642028932443E-2</c:v>
                </c:pt>
                <c:pt idx="282">
                  <c:v>-4.547312630770893E-2</c:v>
                </c:pt>
                <c:pt idx="283">
                  <c:v>-2.4962200730647685E-2</c:v>
                </c:pt>
                <c:pt idx="284">
                  <c:v>-3.6186758799168647E-2</c:v>
                </c:pt>
                <c:pt idx="285">
                  <c:v>-2.0098293354754423E-2</c:v>
                </c:pt>
                <c:pt idx="286">
                  <c:v>-4.3033483927521474E-2</c:v>
                </c:pt>
                <c:pt idx="287">
                  <c:v>-4.3356598181442205E-2</c:v>
                </c:pt>
                <c:pt idx="288">
                  <c:v>-3.530842396951149E-2</c:v>
                </c:pt>
                <c:pt idx="289">
                  <c:v>-3.8799758213543853E-2</c:v>
                </c:pt>
                <c:pt idx="290">
                  <c:v>-4.6741100178136805E-2</c:v>
                </c:pt>
                <c:pt idx="291">
                  <c:v>-4.2923542211001572E-2</c:v>
                </c:pt>
                <c:pt idx="292">
                  <c:v>-4.3567434901298427E-2</c:v>
                </c:pt>
                <c:pt idx="293">
                  <c:v>-3.6792198105151649E-2</c:v>
                </c:pt>
                <c:pt idx="294">
                  <c:v>-3.6807637723779693E-2</c:v>
                </c:pt>
                <c:pt idx="295">
                  <c:v>-3.4109903794288118E-2</c:v>
                </c:pt>
                <c:pt idx="296">
                  <c:v>-3.9648498364929216E-2</c:v>
                </c:pt>
                <c:pt idx="297">
                  <c:v>-3.7250585911813947E-2</c:v>
                </c:pt>
                <c:pt idx="298">
                  <c:v>-3.3265418087126228E-2</c:v>
                </c:pt>
                <c:pt idx="299">
                  <c:v>-3.3389337656230297E-2</c:v>
                </c:pt>
                <c:pt idx="300">
                  <c:v>-3.0544214690248025E-2</c:v>
                </c:pt>
                <c:pt idx="301">
                  <c:v>-2.8840260491957079E-2</c:v>
                </c:pt>
                <c:pt idx="302">
                  <c:v>-3.1349398799748171E-2</c:v>
                </c:pt>
                <c:pt idx="303">
                  <c:v>-2.4033523022900613E-2</c:v>
                </c:pt>
                <c:pt idx="304">
                  <c:v>-1.3405320235434379E-2</c:v>
                </c:pt>
                <c:pt idx="305">
                  <c:v>-1.5644715928104333E-2</c:v>
                </c:pt>
                <c:pt idx="306">
                  <c:v>-1.6846640333208471E-2</c:v>
                </c:pt>
                <c:pt idx="307">
                  <c:v>-8.6192605730319588E-3</c:v>
                </c:pt>
                <c:pt idx="308">
                  <c:v>-6.3294173937196024E-3</c:v>
                </c:pt>
                <c:pt idx="309">
                  <c:v>6.0098786892152228E-3</c:v>
                </c:pt>
                <c:pt idx="310">
                  <c:v>1.6847506231512238E-3</c:v>
                </c:pt>
                <c:pt idx="311">
                  <c:v>1.2381480925083302E-2</c:v>
                </c:pt>
                <c:pt idx="312">
                  <c:v>4.6729899801771918E-3</c:v>
                </c:pt>
                <c:pt idx="313">
                  <c:v>1.2250427209668083E-2</c:v>
                </c:pt>
                <c:pt idx="314">
                  <c:v>2.0738525478311801E-2</c:v>
                </c:pt>
                <c:pt idx="315">
                  <c:v>2.5924960073743245E-2</c:v>
                </c:pt>
                <c:pt idx="316">
                  <c:v>3.1034306202365483E-2</c:v>
                </c:pt>
                <c:pt idx="317">
                  <c:v>2.7769037986917114E-2</c:v>
                </c:pt>
                <c:pt idx="318">
                  <c:v>3.0077344537946762E-2</c:v>
                </c:pt>
                <c:pt idx="319">
                  <c:v>2.6435944897468158E-2</c:v>
                </c:pt>
                <c:pt idx="320">
                  <c:v>2.797042349196556E-2</c:v>
                </c:pt>
                <c:pt idx="321">
                  <c:v>3.569292462854913E-2</c:v>
                </c:pt>
                <c:pt idx="322">
                  <c:v>3.8626783258212907E-2</c:v>
                </c:pt>
                <c:pt idx="323">
                  <c:v>2.6525208556925764E-2</c:v>
                </c:pt>
                <c:pt idx="324">
                  <c:v>3.2688024485534331E-2</c:v>
                </c:pt>
                <c:pt idx="325">
                  <c:v>1.7428453766766175E-2</c:v>
                </c:pt>
                <c:pt idx="326">
                  <c:v>1.8962882628898239E-2</c:v>
                </c:pt>
                <c:pt idx="327">
                  <c:v>2.5592234651551499E-3</c:v>
                </c:pt>
                <c:pt idx="328">
                  <c:v>-1.5348837047910333E-2</c:v>
                </c:pt>
                <c:pt idx="329">
                  <c:v>-2.6562312709678557E-2</c:v>
                </c:pt>
                <c:pt idx="330">
                  <c:v>-2.5237409948292475E-2</c:v>
                </c:pt>
                <c:pt idx="331">
                  <c:v>-3.273083534777875E-2</c:v>
                </c:pt>
                <c:pt idx="332">
                  <c:v>-3.4199073604507788E-2</c:v>
                </c:pt>
                <c:pt idx="333">
                  <c:v>-3.8219146692597392E-2</c:v>
                </c:pt>
                <c:pt idx="334">
                  <c:v>-3.4147305991006002E-2</c:v>
                </c:pt>
                <c:pt idx="335">
                  <c:v>-2.8408975413817136E-2</c:v>
                </c:pt>
                <c:pt idx="336">
                  <c:v>-3.4598769673914051E-2</c:v>
                </c:pt>
                <c:pt idx="337">
                  <c:v>-3.2344225216771036E-2</c:v>
                </c:pt>
                <c:pt idx="338">
                  <c:v>-3.1714781175885429E-2</c:v>
                </c:pt>
                <c:pt idx="339">
                  <c:v>-3.7067644885919279E-2</c:v>
                </c:pt>
                <c:pt idx="340">
                  <c:v>-2.3039022470622381E-2</c:v>
                </c:pt>
                <c:pt idx="341">
                  <c:v>-1.9489887268937509E-2</c:v>
                </c:pt>
                <c:pt idx="342">
                  <c:v>-3.1226797570742398E-3</c:v>
                </c:pt>
                <c:pt idx="343">
                  <c:v>-7.4641871395897258E-3</c:v>
                </c:pt>
                <c:pt idx="344">
                  <c:v>-1.4424814805544792E-2</c:v>
                </c:pt>
                <c:pt idx="345">
                  <c:v>-7.163183410358584E-3</c:v>
                </c:pt>
                <c:pt idx="346">
                  <c:v>-2.1045013744447991E-2</c:v>
                </c:pt>
                <c:pt idx="347">
                  <c:v>-1.8272631307637885E-2</c:v>
                </c:pt>
                <c:pt idx="348">
                  <c:v>-1.3514882537313574E-2</c:v>
                </c:pt>
                <c:pt idx="349">
                  <c:v>-1.1067959774863287E-2</c:v>
                </c:pt>
                <c:pt idx="350">
                  <c:v>-1.7858964597838728E-3</c:v>
                </c:pt>
                <c:pt idx="351">
                  <c:v>6.4459992381313974E-3</c:v>
                </c:pt>
                <c:pt idx="352">
                  <c:v>1.9615782204959326E-3</c:v>
                </c:pt>
                <c:pt idx="353">
                  <c:v>-3.6013366047727841E-3</c:v>
                </c:pt>
                <c:pt idx="354">
                  <c:v>-9.777721011874782E-3</c:v>
                </c:pt>
                <c:pt idx="355">
                  <c:v>2.0718461153769324E-3</c:v>
                </c:pt>
                <c:pt idx="356">
                  <c:v>-1.1395073683868814E-2</c:v>
                </c:pt>
                <c:pt idx="357">
                  <c:v>-6.1840152213918781E-3</c:v>
                </c:pt>
                <c:pt idx="358">
                  <c:v>1.3195068615318953E-2</c:v>
                </c:pt>
                <c:pt idx="359">
                  <c:v>2.9617157752553705E-2</c:v>
                </c:pt>
                <c:pt idx="360">
                  <c:v>1.7570897581947312E-2</c:v>
                </c:pt>
                <c:pt idx="361">
                  <c:v>1.7894427888077283E-2</c:v>
                </c:pt>
                <c:pt idx="362">
                  <c:v>3.3808908790413789E-3</c:v>
                </c:pt>
                <c:pt idx="363">
                  <c:v>7.854290412856138E-3</c:v>
                </c:pt>
                <c:pt idx="364">
                  <c:v>6.4739032047720496E-3</c:v>
                </c:pt>
                <c:pt idx="365">
                  <c:v>8.9107201453326873E-3</c:v>
                </c:pt>
                <c:pt idx="366">
                  <c:v>1.88887784600731E-2</c:v>
                </c:pt>
                <c:pt idx="367">
                  <c:v>2.9102072942630702E-3</c:v>
                </c:pt>
                <c:pt idx="368">
                  <c:v>8.4598773755485551E-3</c:v>
                </c:pt>
                <c:pt idx="369">
                  <c:v>1.0827749005030377E-2</c:v>
                </c:pt>
                <c:pt idx="370">
                  <c:v>1.1406317410601288E-2</c:v>
                </c:pt>
                <c:pt idx="371">
                  <c:v>8.9738957988067108E-3</c:v>
                </c:pt>
                <c:pt idx="372">
                  <c:v>7.4147706160091614E-3</c:v>
                </c:pt>
                <c:pt idx="373">
                  <c:v>-2.4190057683390748E-3</c:v>
                </c:pt>
                <c:pt idx="374">
                  <c:v>-6.9832340806002952E-3</c:v>
                </c:pt>
                <c:pt idx="375">
                  <c:v>5.010791830005884E-4</c:v>
                </c:pt>
                <c:pt idx="376">
                  <c:v>-3.4796345717514748E-3</c:v>
                </c:pt>
                <c:pt idx="377">
                  <c:v>-2.6336314876615891E-3</c:v>
                </c:pt>
                <c:pt idx="378">
                  <c:v>-1.1248874325611932E-2</c:v>
                </c:pt>
                <c:pt idx="379">
                  <c:v>-4.620963007658338E-3</c:v>
                </c:pt>
                <c:pt idx="380">
                  <c:v>-5.7096828529674543E-3</c:v>
                </c:pt>
                <c:pt idx="381">
                  <c:v>-1.2104834635195169E-2</c:v>
                </c:pt>
                <c:pt idx="382">
                  <c:v>-8.7115356168214614E-3</c:v>
                </c:pt>
                <c:pt idx="383">
                  <c:v>-7.4958342313934251E-3</c:v>
                </c:pt>
                <c:pt idx="384">
                  <c:v>-4.421414425213363E-3</c:v>
                </c:pt>
                <c:pt idx="385">
                  <c:v>4.3854749738214821E-3</c:v>
                </c:pt>
                <c:pt idx="386">
                  <c:v>5.1994333069243087E-3</c:v>
                </c:pt>
                <c:pt idx="387">
                  <c:v>2.4015564520829674E-3</c:v>
                </c:pt>
                <c:pt idx="388">
                  <c:v>1.7857382677840677E-3</c:v>
                </c:pt>
                <c:pt idx="389">
                  <c:v>-3.6291868583110259E-3</c:v>
                </c:pt>
                <c:pt idx="390">
                  <c:v>-4.100231812907848E-3</c:v>
                </c:pt>
                <c:pt idx="391">
                  <c:v>7.8606482522038112E-4</c:v>
                </c:pt>
                <c:pt idx="392">
                  <c:v>-1.7659364460774485E-4</c:v>
                </c:pt>
                <c:pt idx="393">
                  <c:v>-1.7202938428258582E-2</c:v>
                </c:pt>
                <c:pt idx="394">
                  <c:v>-3.2899865087623423E-2</c:v>
                </c:pt>
                <c:pt idx="395">
                  <c:v>-3.5043514751051039E-2</c:v>
                </c:pt>
                <c:pt idx="396">
                  <c:v>-3.574636023630394E-2</c:v>
                </c:pt>
                <c:pt idx="397">
                  <c:v>-1.7452382295301647E-2</c:v>
                </c:pt>
                <c:pt idx="398">
                  <c:v>-2.2642507829109912E-2</c:v>
                </c:pt>
                <c:pt idx="399">
                  <c:v>-2.2695840907937734E-2</c:v>
                </c:pt>
                <c:pt idx="400">
                  <c:v>-2.7130466839454401E-2</c:v>
                </c:pt>
                <c:pt idx="401">
                  <c:v>-2.4918962013101828E-2</c:v>
                </c:pt>
                <c:pt idx="402">
                  <c:v>-2.5567346514634978E-2</c:v>
                </c:pt>
                <c:pt idx="403">
                  <c:v>-1.6937834367756852E-2</c:v>
                </c:pt>
                <c:pt idx="404">
                  <c:v>-1.2052425518871299E-2</c:v>
                </c:pt>
                <c:pt idx="405">
                  <c:v>-2.2985818204497174E-2</c:v>
                </c:pt>
                <c:pt idx="406">
                  <c:v>-2.1931953587680617E-2</c:v>
                </c:pt>
                <c:pt idx="407">
                  <c:v>-1.9881215113439196E-2</c:v>
                </c:pt>
                <c:pt idx="408">
                  <c:v>-1.0787628671737645E-2</c:v>
                </c:pt>
                <c:pt idx="409">
                  <c:v>-1.1113432972998813E-2</c:v>
                </c:pt>
                <c:pt idx="410">
                  <c:v>-4.3073738354561936E-3</c:v>
                </c:pt>
                <c:pt idx="411">
                  <c:v>-6.1630740405246159E-3</c:v>
                </c:pt>
                <c:pt idx="412">
                  <c:v>-7.4291600026693411E-3</c:v>
                </c:pt>
                <c:pt idx="413">
                  <c:v>2.1471298760188523E-3</c:v>
                </c:pt>
                <c:pt idx="414">
                  <c:v>-2.9581897821594344E-3</c:v>
                </c:pt>
                <c:pt idx="415">
                  <c:v>-5.4051418223784869E-3</c:v>
                </c:pt>
                <c:pt idx="416">
                  <c:v>2.8873054123926961E-3</c:v>
                </c:pt>
                <c:pt idx="417">
                  <c:v>8.457140656636844E-3</c:v>
                </c:pt>
                <c:pt idx="418">
                  <c:v>7.917148070753402E-3</c:v>
                </c:pt>
                <c:pt idx="419">
                  <c:v>1.2578815959555803E-2</c:v>
                </c:pt>
                <c:pt idx="420">
                  <c:v>7.1249015882102334E-3</c:v>
                </c:pt>
                <c:pt idx="421">
                  <c:v>3.8188800570326947E-3</c:v>
                </c:pt>
                <c:pt idx="422">
                  <c:v>1.6117043122089295E-2</c:v>
                </c:pt>
                <c:pt idx="423">
                  <c:v>2.9080189182686303E-2</c:v>
                </c:pt>
                <c:pt idx="424">
                  <c:v>3.9971049861481159E-2</c:v>
                </c:pt>
                <c:pt idx="425">
                  <c:v>4.1190889906044373E-2</c:v>
                </c:pt>
                <c:pt idx="426">
                  <c:v>4.3681029280788777E-2</c:v>
                </c:pt>
                <c:pt idx="427">
                  <c:v>4.4787085287203557E-2</c:v>
                </c:pt>
                <c:pt idx="428">
                  <c:v>5.3140679892826018E-2</c:v>
                </c:pt>
                <c:pt idx="429">
                  <c:v>5.3863086306411803E-2</c:v>
                </c:pt>
                <c:pt idx="430">
                  <c:v>5.2616378654227317E-2</c:v>
                </c:pt>
                <c:pt idx="431">
                  <c:v>4.1097916603967014E-2</c:v>
                </c:pt>
                <c:pt idx="432">
                  <c:v>4.3998761171918158E-2</c:v>
                </c:pt>
                <c:pt idx="433">
                  <c:v>3.2720397283286476E-2</c:v>
                </c:pt>
                <c:pt idx="434">
                  <c:v>4.0011521884117843E-2</c:v>
                </c:pt>
                <c:pt idx="435">
                  <c:v>4.3905809938235354E-2</c:v>
                </c:pt>
                <c:pt idx="436">
                  <c:v>4.6336043589946599E-2</c:v>
                </c:pt>
                <c:pt idx="437">
                  <c:v>3.9525765160359008E-2</c:v>
                </c:pt>
                <c:pt idx="438">
                  <c:v>3.585975299225598E-2</c:v>
                </c:pt>
                <c:pt idx="439">
                  <c:v>2.2015360223338845E-2</c:v>
                </c:pt>
                <c:pt idx="440">
                  <c:v>1.2638622913493727E-2</c:v>
                </c:pt>
                <c:pt idx="441">
                  <c:v>1.1198785184208151E-2</c:v>
                </c:pt>
                <c:pt idx="442">
                  <c:v>1.1739171626528058E-2</c:v>
                </c:pt>
                <c:pt idx="443">
                  <c:v>1.2290816627531523E-2</c:v>
                </c:pt>
                <c:pt idx="444">
                  <c:v>1.1584610223197581E-2</c:v>
                </c:pt>
                <c:pt idx="445">
                  <c:v>9.7796012513412661E-3</c:v>
                </c:pt>
                <c:pt idx="446">
                  <c:v>1.2490972717194807E-2</c:v>
                </c:pt>
                <c:pt idx="447">
                  <c:v>8.5751187296178172E-3</c:v>
                </c:pt>
                <c:pt idx="448">
                  <c:v>4.1237149943831458E-3</c:v>
                </c:pt>
                <c:pt idx="449">
                  <c:v>4.5764304686846252E-3</c:v>
                </c:pt>
                <c:pt idx="450">
                  <c:v>1.1281754441057848E-2</c:v>
                </c:pt>
                <c:pt idx="451">
                  <c:v>1.9741628527231506E-2</c:v>
                </c:pt>
                <c:pt idx="452">
                  <c:v>1.1667970080069603E-2</c:v>
                </c:pt>
                <c:pt idx="453">
                  <c:v>7.9740838303265088E-3</c:v>
                </c:pt>
                <c:pt idx="454">
                  <c:v>1.1515888384068931E-2</c:v>
                </c:pt>
                <c:pt idx="455">
                  <c:v>1.9234425363655508E-2</c:v>
                </c:pt>
                <c:pt idx="456">
                  <c:v>-1.0547286377575599E-3</c:v>
                </c:pt>
                <c:pt idx="457">
                  <c:v>-3.3699644469985246E-4</c:v>
                </c:pt>
                <c:pt idx="458">
                  <c:v>-4.5034969072087205E-4</c:v>
                </c:pt>
                <c:pt idx="459">
                  <c:v>-9.2555914636926889E-3</c:v>
                </c:pt>
                <c:pt idx="460">
                  <c:v>-6.291392139323157E-3</c:v>
                </c:pt>
                <c:pt idx="461">
                  <c:v>-8.9210219853694678E-3</c:v>
                </c:pt>
                <c:pt idx="462">
                  <c:v>-1.1756327915956141E-2</c:v>
                </c:pt>
                <c:pt idx="463">
                  <c:v>7.5413377579526542E-4</c:v>
                </c:pt>
                <c:pt idx="464">
                  <c:v>-8.0792473834535444E-3</c:v>
                </c:pt>
                <c:pt idx="465">
                  <c:v>-1.2076845533023337E-2</c:v>
                </c:pt>
                <c:pt idx="466">
                  <c:v>-1.2058292937866408E-2</c:v>
                </c:pt>
                <c:pt idx="467">
                  <c:v>-8.5843836536415447E-3</c:v>
                </c:pt>
                <c:pt idx="468">
                  <c:v>-1.1488533766748174E-2</c:v>
                </c:pt>
                <c:pt idx="469">
                  <c:v>2.8029476263392722E-3</c:v>
                </c:pt>
                <c:pt idx="470">
                  <c:v>6.2661451140311325E-3</c:v>
                </c:pt>
                <c:pt idx="471">
                  <c:v>9.2562693084181774E-3</c:v>
                </c:pt>
                <c:pt idx="472">
                  <c:v>1.3553032306563143E-2</c:v>
                </c:pt>
                <c:pt idx="473">
                  <c:v>1.9097741761892065E-2</c:v>
                </c:pt>
                <c:pt idx="474">
                  <c:v>2.7014727146788001E-2</c:v>
                </c:pt>
                <c:pt idx="475">
                  <c:v>1.8256983813125363E-2</c:v>
                </c:pt>
                <c:pt idx="476">
                  <c:v>1.1987518212427509E-2</c:v>
                </c:pt>
                <c:pt idx="477">
                  <c:v>7.2814401733240081E-3</c:v>
                </c:pt>
                <c:pt idx="478">
                  <c:v>1.0777517507547865E-2</c:v>
                </c:pt>
                <c:pt idx="479">
                  <c:v>9.8584417808603858E-3</c:v>
                </c:pt>
                <c:pt idx="480">
                  <c:v>1.2024518992595171E-2</c:v>
                </c:pt>
                <c:pt idx="481">
                  <c:v>3.5038101422247975E-3</c:v>
                </c:pt>
                <c:pt idx="482">
                  <c:v>1.1105099409592048E-2</c:v>
                </c:pt>
                <c:pt idx="483">
                  <c:v>9.3700872861694068E-3</c:v>
                </c:pt>
                <c:pt idx="484">
                  <c:v>2.7181650536341057E-3</c:v>
                </c:pt>
                <c:pt idx="485">
                  <c:v>-1.6420522489965714E-2</c:v>
                </c:pt>
                <c:pt idx="486">
                  <c:v>-2.9467014619958126E-3</c:v>
                </c:pt>
                <c:pt idx="487">
                  <c:v>-3.7187498760192506E-4</c:v>
                </c:pt>
                <c:pt idx="488">
                  <c:v>-9.0518099604264129E-3</c:v>
                </c:pt>
                <c:pt idx="489">
                  <c:v>-1.767646449279979E-2</c:v>
                </c:pt>
                <c:pt idx="490">
                  <c:v>-1.7196009073022975E-2</c:v>
                </c:pt>
                <c:pt idx="491">
                  <c:v>-4.8147747440410033E-3</c:v>
                </c:pt>
                <c:pt idx="492">
                  <c:v>-5.3822053355374461E-3</c:v>
                </c:pt>
                <c:pt idx="493">
                  <c:v>-2.0114333954580385E-2</c:v>
                </c:pt>
                <c:pt idx="494">
                  <c:v>-1.0228089713389052E-2</c:v>
                </c:pt>
                <c:pt idx="495">
                  <c:v>-1.2469335733841666E-2</c:v>
                </c:pt>
                <c:pt idx="496">
                  <c:v>-7.8769813815729867E-3</c:v>
                </c:pt>
                <c:pt idx="497">
                  <c:v>-1.1108461106904763E-2</c:v>
                </c:pt>
                <c:pt idx="498">
                  <c:v>-9.8877484043219249E-3</c:v>
                </c:pt>
                <c:pt idx="499">
                  <c:v>-1.2038933656839487E-2</c:v>
                </c:pt>
                <c:pt idx="500">
                  <c:v>-9.1709272565273364E-3</c:v>
                </c:pt>
                <c:pt idx="501">
                  <c:v>-6.1564221502677791E-3</c:v>
                </c:pt>
                <c:pt idx="502">
                  <c:v>-9.3734698299447888E-3</c:v>
                </c:pt>
                <c:pt idx="503">
                  <c:v>-1.5780264539152364E-2</c:v>
                </c:pt>
                <c:pt idx="504">
                  <c:v>-2.2994219852793249E-2</c:v>
                </c:pt>
                <c:pt idx="505">
                  <c:v>-1.4024027268070713E-2</c:v>
                </c:pt>
                <c:pt idx="506">
                  <c:v>-1.3348990662999424E-2</c:v>
                </c:pt>
                <c:pt idx="507">
                  <c:v>-9.479676286691982E-3</c:v>
                </c:pt>
                <c:pt idx="508">
                  <c:v>-8.5607094825054103E-3</c:v>
                </c:pt>
                <c:pt idx="509">
                  <c:v>-1.4965730173340117E-2</c:v>
                </c:pt>
                <c:pt idx="510">
                  <c:v>-1.4199227567064918E-2</c:v>
                </c:pt>
                <c:pt idx="511">
                  <c:v>-1.9910094197677405E-2</c:v>
                </c:pt>
                <c:pt idx="512">
                  <c:v>-2.1863732655880694E-2</c:v>
                </c:pt>
                <c:pt idx="513">
                  <c:v>-1.6030459060531341E-2</c:v>
                </c:pt>
                <c:pt idx="514">
                  <c:v>-1.1136747471884742E-2</c:v>
                </c:pt>
                <c:pt idx="515">
                  <c:v>4.187937791352972E-3</c:v>
                </c:pt>
                <c:pt idx="516">
                  <c:v>4.4920264800412252E-3</c:v>
                </c:pt>
                <c:pt idx="517">
                  <c:v>-2.387746942012256E-3</c:v>
                </c:pt>
                <c:pt idx="518">
                  <c:v>7.6590711444620846E-3</c:v>
                </c:pt>
                <c:pt idx="519">
                  <c:v>1.6512592329586032E-2</c:v>
                </c:pt>
                <c:pt idx="520">
                  <c:v>1.3466682246746867E-2</c:v>
                </c:pt>
                <c:pt idx="521">
                  <c:v>1.0228909263806055E-2</c:v>
                </c:pt>
                <c:pt idx="522">
                  <c:v>1.3267236375565941E-2</c:v>
                </c:pt>
                <c:pt idx="523">
                  <c:v>2.2711523596900998E-2</c:v>
                </c:pt>
                <c:pt idx="524">
                  <c:v>2.1454858691944315E-2</c:v>
                </c:pt>
                <c:pt idx="525">
                  <c:v>1.937831962039617E-2</c:v>
                </c:pt>
                <c:pt idx="526">
                  <c:v>1.6284771020137048E-2</c:v>
                </c:pt>
                <c:pt idx="527">
                  <c:v>1.8353131812807857E-2</c:v>
                </c:pt>
                <c:pt idx="528">
                  <c:v>1.5023532470706993E-2</c:v>
                </c:pt>
                <c:pt idx="529">
                  <c:v>1.2190288962346876E-2</c:v>
                </c:pt>
                <c:pt idx="530">
                  <c:v>1.2298778884134123E-2</c:v>
                </c:pt>
                <c:pt idx="531">
                  <c:v>1.1949168773686361E-2</c:v>
                </c:pt>
                <c:pt idx="532">
                  <c:v>1.8635249811393001E-3</c:v>
                </c:pt>
                <c:pt idx="533">
                  <c:v>3.5419452318784655E-3</c:v>
                </c:pt>
                <c:pt idx="534">
                  <c:v>3.2116088183514885E-3</c:v>
                </c:pt>
                <c:pt idx="535">
                  <c:v>-5.5418101156042704E-3</c:v>
                </c:pt>
                <c:pt idx="536">
                  <c:v>-4.8426885909110678E-3</c:v>
                </c:pt>
                <c:pt idx="537">
                  <c:v>-1.3620580296986734E-3</c:v>
                </c:pt>
                <c:pt idx="538">
                  <c:v>-1.3115463866577443E-3</c:v>
                </c:pt>
                <c:pt idx="539">
                  <c:v>5.7924439308760928E-3</c:v>
                </c:pt>
                <c:pt idx="540">
                  <c:v>1.3061915373592817E-2</c:v>
                </c:pt>
                <c:pt idx="541">
                  <c:v>2.2564748137557392E-2</c:v>
                </c:pt>
                <c:pt idx="542">
                  <c:v>2.7695621489541425E-2</c:v>
                </c:pt>
                <c:pt idx="543">
                  <c:v>2.2196440040897839E-2</c:v>
                </c:pt>
                <c:pt idx="544">
                  <c:v>1.9314038915402412E-2</c:v>
                </c:pt>
                <c:pt idx="545">
                  <c:v>4.75430957543789E-3</c:v>
                </c:pt>
                <c:pt idx="546">
                  <c:v>3.5367161372195227E-3</c:v>
                </c:pt>
                <c:pt idx="547">
                  <c:v>1.1849680197261528E-2</c:v>
                </c:pt>
                <c:pt idx="548">
                  <c:v>1.7633735310599211E-2</c:v>
                </c:pt>
                <c:pt idx="549">
                  <c:v>1.8475539145752853E-2</c:v>
                </c:pt>
                <c:pt idx="550">
                  <c:v>1.625494838006715E-2</c:v>
                </c:pt>
                <c:pt idx="551">
                  <c:v>2.7683955436338184E-2</c:v>
                </c:pt>
                <c:pt idx="552">
                  <c:v>2.9324199648443253E-2</c:v>
                </c:pt>
                <c:pt idx="553">
                  <c:v>2.4921175315172919E-2</c:v>
                </c:pt>
                <c:pt idx="554">
                  <c:v>2.7154413193383756E-2</c:v>
                </c:pt>
                <c:pt idx="555">
                  <c:v>2.9091757277098243E-2</c:v>
                </c:pt>
                <c:pt idx="556">
                  <c:v>3.076114986808666E-2</c:v>
                </c:pt>
                <c:pt idx="557">
                  <c:v>3.6031596206380648E-2</c:v>
                </c:pt>
                <c:pt idx="558">
                  <c:v>3.2971193094665577E-2</c:v>
                </c:pt>
                <c:pt idx="559">
                  <c:v>2.9114654192874859E-2</c:v>
                </c:pt>
                <c:pt idx="560">
                  <c:v>3.2733779472324601E-2</c:v>
                </c:pt>
                <c:pt idx="561">
                  <c:v>2.8468526075938763E-2</c:v>
                </c:pt>
                <c:pt idx="562">
                  <c:v>3.9657667456725179E-2</c:v>
                </c:pt>
                <c:pt idx="563">
                  <c:v>2.9424528914849715E-2</c:v>
                </c:pt>
                <c:pt idx="564">
                  <c:v>2.4494338321225065E-2</c:v>
                </c:pt>
                <c:pt idx="565">
                  <c:v>2.9626882314373951E-2</c:v>
                </c:pt>
                <c:pt idx="566">
                  <c:v>2.6930324559503074E-2</c:v>
                </c:pt>
                <c:pt idx="567">
                  <c:v>2.0917306431289986E-2</c:v>
                </c:pt>
                <c:pt idx="568">
                  <c:v>1.9514345287039117E-2</c:v>
                </c:pt>
                <c:pt idx="569">
                  <c:v>9.3242017515360459E-3</c:v>
                </c:pt>
                <c:pt idx="570">
                  <c:v>-2.0978475440771444E-3</c:v>
                </c:pt>
                <c:pt idx="571">
                  <c:v>-4.4939550476732343E-3</c:v>
                </c:pt>
                <c:pt idx="572">
                  <c:v>-3.3232651438444977E-3</c:v>
                </c:pt>
                <c:pt idx="573">
                  <c:v>2.2173143822389468E-3</c:v>
                </c:pt>
                <c:pt idx="574">
                  <c:v>1.6577684530145881E-3</c:v>
                </c:pt>
                <c:pt idx="575">
                  <c:v>1.1387909898541562E-2</c:v>
                </c:pt>
                <c:pt idx="576">
                  <c:v>1.0083730308805175E-2</c:v>
                </c:pt>
                <c:pt idx="577">
                  <c:v>6.0143412420289449E-3</c:v>
                </c:pt>
                <c:pt idx="578">
                  <c:v>-3.7659574524191303E-3</c:v>
                </c:pt>
                <c:pt idx="579">
                  <c:v>-2.0261663494283697E-2</c:v>
                </c:pt>
                <c:pt idx="580">
                  <c:v>-2.1221549049796881E-2</c:v>
                </c:pt>
                <c:pt idx="581">
                  <c:v>-3.924203863505836E-2</c:v>
                </c:pt>
                <c:pt idx="582">
                  <c:v>-4.1261171651913772E-2</c:v>
                </c:pt>
                <c:pt idx="583">
                  <c:v>-4.8624857535953789E-2</c:v>
                </c:pt>
                <c:pt idx="584">
                  <c:v>-5.2030246489385243E-2</c:v>
                </c:pt>
                <c:pt idx="585">
                  <c:v>-5.0279338822501893E-2</c:v>
                </c:pt>
                <c:pt idx="586">
                  <c:v>-4.9361586610221261E-2</c:v>
                </c:pt>
                <c:pt idx="587">
                  <c:v>-6.5476660428378172E-2</c:v>
                </c:pt>
                <c:pt idx="588">
                  <c:v>-7.5911757401336363E-2</c:v>
                </c:pt>
                <c:pt idx="589">
                  <c:v>-7.8205884820627278E-2</c:v>
                </c:pt>
                <c:pt idx="590">
                  <c:v>-8.125869835606557E-2</c:v>
                </c:pt>
                <c:pt idx="591">
                  <c:v>-7.9447451792163157E-2</c:v>
                </c:pt>
                <c:pt idx="592">
                  <c:v>-8.7852503610166707E-2</c:v>
                </c:pt>
                <c:pt idx="593">
                  <c:v>-7.0409071922146169E-2</c:v>
                </c:pt>
                <c:pt idx="594">
                  <c:v>-6.6880115861079767E-2</c:v>
                </c:pt>
                <c:pt idx="595">
                  <c:v>-6.2220945153168991E-2</c:v>
                </c:pt>
                <c:pt idx="596">
                  <c:v>-6.5729356262688596E-2</c:v>
                </c:pt>
                <c:pt idx="597">
                  <c:v>-6.4506164938014074E-2</c:v>
                </c:pt>
                <c:pt idx="598">
                  <c:v>-6.0655605677868638E-2</c:v>
                </c:pt>
                <c:pt idx="599">
                  <c:v>-5.028534058283339E-2</c:v>
                </c:pt>
                <c:pt idx="600">
                  <c:v>-3.8008885321975647E-2</c:v>
                </c:pt>
                <c:pt idx="601">
                  <c:v>-4.7930429168523289E-2</c:v>
                </c:pt>
                <c:pt idx="602">
                  <c:v>-3.9754556337422961E-2</c:v>
                </c:pt>
                <c:pt idx="603">
                  <c:v>-5.8350924041480901E-5</c:v>
                </c:pt>
                <c:pt idx="604">
                  <c:v>1.2025940307344399E-2</c:v>
                </c:pt>
                <c:pt idx="605">
                  <c:v>2.9651814957241257E-3</c:v>
                </c:pt>
                <c:pt idx="606">
                  <c:v>-1.5598701306488535E-2</c:v>
                </c:pt>
                <c:pt idx="607">
                  <c:v>-1.4679435691898654E-2</c:v>
                </c:pt>
                <c:pt idx="608">
                  <c:v>-4.1527400223866223E-3</c:v>
                </c:pt>
                <c:pt idx="609">
                  <c:v>-1.659014475470498E-2</c:v>
                </c:pt>
                <c:pt idx="610">
                  <c:v>-3.389909207155227E-2</c:v>
                </c:pt>
                <c:pt idx="611">
                  <c:v>9.1721266412092689E-3</c:v>
                </c:pt>
                <c:pt idx="612">
                  <c:v>8.3838109570712055E-3</c:v>
                </c:pt>
                <c:pt idx="613">
                  <c:v>7.3707647764531675E-3</c:v>
                </c:pt>
                <c:pt idx="614">
                  <c:v>-7.0796392071308251E-3</c:v>
                </c:pt>
                <c:pt idx="615">
                  <c:v>-1.1698411772033221E-2</c:v>
                </c:pt>
                <c:pt idx="616">
                  <c:v>-1.5529199713293237E-2</c:v>
                </c:pt>
                <c:pt idx="617">
                  <c:v>4.820767718521593E-3</c:v>
                </c:pt>
                <c:pt idx="618">
                  <c:v>-1.7492226208980222E-4</c:v>
                </c:pt>
                <c:pt idx="619">
                  <c:v>1.51947469021423E-2</c:v>
                </c:pt>
                <c:pt idx="620">
                  <c:v>3.5945630076561277E-2</c:v>
                </c:pt>
                <c:pt idx="621">
                  <c:v>2.7024104942236518E-2</c:v>
                </c:pt>
                <c:pt idx="622">
                  <c:v>6.3748411889141723E-2</c:v>
                </c:pt>
                <c:pt idx="623">
                  <c:v>7.9197087109291756E-2</c:v>
                </c:pt>
                <c:pt idx="624">
                  <c:v>8.0254810395992707E-2</c:v>
                </c:pt>
                <c:pt idx="625">
                  <c:v>9.2481990037245901E-2</c:v>
                </c:pt>
                <c:pt idx="626">
                  <c:v>9.0385568831256494E-2</c:v>
                </c:pt>
                <c:pt idx="627">
                  <c:v>7.9630609132821953E-2</c:v>
                </c:pt>
                <c:pt idx="628">
                  <c:v>7.587668016070194E-2</c:v>
                </c:pt>
                <c:pt idx="629">
                  <c:v>6.7035945174697811E-2</c:v>
                </c:pt>
                <c:pt idx="630">
                  <c:v>4.1243099996366786E-2</c:v>
                </c:pt>
                <c:pt idx="631">
                  <c:v>8.0543639174936468E-2</c:v>
                </c:pt>
                <c:pt idx="632">
                  <c:v>8.7726569930853718E-2</c:v>
                </c:pt>
                <c:pt idx="633">
                  <c:v>5.1277998468739164E-2</c:v>
                </c:pt>
                <c:pt idx="634">
                  <c:v>3.2974882479575154E-2</c:v>
                </c:pt>
                <c:pt idx="635">
                  <c:v>3.8631593103665388E-2</c:v>
                </c:pt>
                <c:pt idx="636">
                  <c:v>6.3310071618613697E-2</c:v>
                </c:pt>
                <c:pt idx="637">
                  <c:v>6.7622736235511807E-2</c:v>
                </c:pt>
                <c:pt idx="638">
                  <c:v>7.3280706793530784E-2</c:v>
                </c:pt>
                <c:pt idx="639">
                  <c:v>6.1026306901436747E-2</c:v>
                </c:pt>
                <c:pt idx="640">
                  <c:v>7.8291122765159607E-2</c:v>
                </c:pt>
                <c:pt idx="641">
                  <c:v>7.2193886556384548E-2</c:v>
                </c:pt>
                <c:pt idx="642">
                  <c:v>5.3441115687557952E-2</c:v>
                </c:pt>
                <c:pt idx="643">
                  <c:v>3.3204873823051886E-2</c:v>
                </c:pt>
                <c:pt idx="644">
                  <c:v>2.7891124910927614E-2</c:v>
                </c:pt>
                <c:pt idx="645">
                  <c:v>2.8311839347355386E-2</c:v>
                </c:pt>
                <c:pt idx="646">
                  <c:v>-5.8143795297530762E-2</c:v>
                </c:pt>
                <c:pt idx="647">
                  <c:v>-5.2014166836659478E-2</c:v>
                </c:pt>
                <c:pt idx="648">
                  <c:v>-5.3980541505797217E-2</c:v>
                </c:pt>
                <c:pt idx="649">
                  <c:v>-5.4094423050055837E-2</c:v>
                </c:pt>
                <c:pt idx="650">
                  <c:v>-3.3841410674324099E-2</c:v>
                </c:pt>
                <c:pt idx="651">
                  <c:v>-1.8373922104506821E-2</c:v>
                </c:pt>
                <c:pt idx="652">
                  <c:v>-2.5107263514008021E-3</c:v>
                </c:pt>
                <c:pt idx="653">
                  <c:v>5.2939671797567339E-3</c:v>
                </c:pt>
                <c:pt idx="654">
                  <c:v>1.3190233886929872E-2</c:v>
                </c:pt>
                <c:pt idx="655">
                  <c:v>-1.6914062720979381E-2</c:v>
                </c:pt>
                <c:pt idx="656">
                  <c:v>-2.4401733853153112E-3</c:v>
                </c:pt>
                <c:pt idx="657">
                  <c:v>-6.1500479266162061E-3</c:v>
                </c:pt>
                <c:pt idx="658">
                  <c:v>-1.7937503556373566E-2</c:v>
                </c:pt>
                <c:pt idx="659">
                  <c:v>-1.751843445296429E-2</c:v>
                </c:pt>
                <c:pt idx="660">
                  <c:v>3.7296455953873681E-3</c:v>
                </c:pt>
                <c:pt idx="661">
                  <c:v>2.9908654935239656E-2</c:v>
                </c:pt>
                <c:pt idx="662">
                  <c:v>8.0115279840085166E-2</c:v>
                </c:pt>
                <c:pt idx="663">
                  <c:v>8.1113906439787567E-2</c:v>
                </c:pt>
                <c:pt idx="664">
                  <c:v>6.4616894798471006E-2</c:v>
                </c:pt>
                <c:pt idx="665">
                  <c:v>6.0399933505372663E-2</c:v>
                </c:pt>
                <c:pt idx="666">
                  <c:v>7.3905477434119585E-2</c:v>
                </c:pt>
                <c:pt idx="667">
                  <c:v>5.3326097713193091E-2</c:v>
                </c:pt>
                <c:pt idx="668">
                  <c:v>4.8313970623268393E-3</c:v>
                </c:pt>
                <c:pt idx="669">
                  <c:v>4.7076972894463345E-2</c:v>
                </c:pt>
                <c:pt idx="670">
                  <c:v>4.7019480100380942E-2</c:v>
                </c:pt>
                <c:pt idx="671">
                  <c:v>5.2267982864623877E-2</c:v>
                </c:pt>
                <c:pt idx="672">
                  <c:v>6.6911078053905407E-2</c:v>
                </c:pt>
                <c:pt idx="673">
                  <c:v>3.9450530582121904E-2</c:v>
                </c:pt>
                <c:pt idx="674">
                  <c:v>2.3933365753131222E-2</c:v>
                </c:pt>
                <c:pt idx="675">
                  <c:v>1.9440492886483099E-2</c:v>
                </c:pt>
                <c:pt idx="676">
                  <c:v>2.2837992080872685E-2</c:v>
                </c:pt>
                <c:pt idx="677">
                  <c:v>2.2059811061195159E-2</c:v>
                </c:pt>
                <c:pt idx="678">
                  <c:v>2.8504797815246743E-2</c:v>
                </c:pt>
                <c:pt idx="679">
                  <c:v>2.9565467532555637E-2</c:v>
                </c:pt>
                <c:pt idx="680">
                  <c:v>2.619563422543715E-2</c:v>
                </c:pt>
                <c:pt idx="681">
                  <c:v>2.0128272919304649E-2</c:v>
                </c:pt>
                <c:pt idx="682">
                  <c:v>2.4766033227408904E-2</c:v>
                </c:pt>
                <c:pt idx="683">
                  <c:v>2.3328362008963391E-2</c:v>
                </c:pt>
                <c:pt idx="684">
                  <c:v>1.6992453357136852E-2</c:v>
                </c:pt>
                <c:pt idx="685">
                  <c:v>3.317299845272649E-2</c:v>
                </c:pt>
                <c:pt idx="686">
                  <c:v>3.9428702090088877E-2</c:v>
                </c:pt>
                <c:pt idx="687">
                  <c:v>4.0629930798883454E-2</c:v>
                </c:pt>
                <c:pt idx="688">
                  <c:v>4.3795174726763877E-2</c:v>
                </c:pt>
                <c:pt idx="689">
                  <c:v>4.4801947056783434E-2</c:v>
                </c:pt>
                <c:pt idx="690">
                  <c:v>4.5085346215381641E-2</c:v>
                </c:pt>
                <c:pt idx="691">
                  <c:v>5.4500120594856774E-2</c:v>
                </c:pt>
                <c:pt idx="692">
                  <c:v>4.8388976791096786E-2</c:v>
                </c:pt>
                <c:pt idx="693">
                  <c:v>4.7152474516386503E-2</c:v>
                </c:pt>
                <c:pt idx="694">
                  <c:v>4.7684848683149053E-2</c:v>
                </c:pt>
                <c:pt idx="695">
                  <c:v>4.7668192875920071E-2</c:v>
                </c:pt>
                <c:pt idx="696">
                  <c:v>4.8789102943588528E-2</c:v>
                </c:pt>
                <c:pt idx="697">
                  <c:v>5.064646632570248E-2</c:v>
                </c:pt>
                <c:pt idx="698">
                  <c:v>5.24293472773283E-2</c:v>
                </c:pt>
                <c:pt idx="699">
                  <c:v>5.2526143349564305E-2</c:v>
                </c:pt>
                <c:pt idx="700">
                  <c:v>5.3732482339827428E-2</c:v>
                </c:pt>
                <c:pt idx="701">
                  <c:v>4.7568552224760099E-2</c:v>
                </c:pt>
                <c:pt idx="702">
                  <c:v>4.7945210648688411E-2</c:v>
                </c:pt>
                <c:pt idx="703">
                  <c:v>4.3094978684060994E-2</c:v>
                </c:pt>
                <c:pt idx="704">
                  <c:v>4.6309101976392944E-2</c:v>
                </c:pt>
                <c:pt idx="705">
                  <c:v>4.8232176283322006E-2</c:v>
                </c:pt>
                <c:pt idx="706">
                  <c:v>4.5973358582737892E-2</c:v>
                </c:pt>
                <c:pt idx="707">
                  <c:v>3.4075139985954586E-2</c:v>
                </c:pt>
                <c:pt idx="708">
                  <c:v>2.4497887731036685E-2</c:v>
                </c:pt>
                <c:pt idx="709">
                  <c:v>1.179282194977728E-2</c:v>
                </c:pt>
                <c:pt idx="710">
                  <c:v>1.3432264763447291E-2</c:v>
                </c:pt>
                <c:pt idx="711">
                  <c:v>2.2570823791029385E-2</c:v>
                </c:pt>
                <c:pt idx="712">
                  <c:v>2.0094174887168151E-2</c:v>
                </c:pt>
                <c:pt idx="713">
                  <c:v>2.3659325737710582E-2</c:v>
                </c:pt>
                <c:pt idx="714">
                  <c:v>2.6650577005893475E-2</c:v>
                </c:pt>
                <c:pt idx="715">
                  <c:v>6.1383716625254131E-3</c:v>
                </c:pt>
                <c:pt idx="716">
                  <c:v>1.0380556480140482E-2</c:v>
                </c:pt>
                <c:pt idx="717">
                  <c:v>1.0187685263347582E-2</c:v>
                </c:pt>
                <c:pt idx="718">
                  <c:v>1.1082939437958919E-2</c:v>
                </c:pt>
                <c:pt idx="719">
                  <c:v>1.142222584058207E-2</c:v>
                </c:pt>
                <c:pt idx="720">
                  <c:v>1.3556092057617111E-2</c:v>
                </c:pt>
                <c:pt idx="721">
                  <c:v>8.878956469148061E-3</c:v>
                </c:pt>
                <c:pt idx="722">
                  <c:v>1.1983827192705979E-2</c:v>
                </c:pt>
                <c:pt idx="723">
                  <c:v>1.07687343597095E-2</c:v>
                </c:pt>
                <c:pt idx="724">
                  <c:v>1.3710103436921597E-2</c:v>
                </c:pt>
                <c:pt idx="725">
                  <c:v>6.8358471476086674E-3</c:v>
                </c:pt>
                <c:pt idx="726">
                  <c:v>-5.3235905419276447E-3</c:v>
                </c:pt>
                <c:pt idx="727">
                  <c:v>-1.5642932418309705E-2</c:v>
                </c:pt>
                <c:pt idx="728">
                  <c:v>-1.6472723187262103E-2</c:v>
                </c:pt>
                <c:pt idx="729">
                  <c:v>-2.8082244216398253E-2</c:v>
                </c:pt>
                <c:pt idx="730">
                  <c:v>-4.5290247751372234E-2</c:v>
                </c:pt>
                <c:pt idx="731">
                  <c:v>-4.4815209718439761E-2</c:v>
                </c:pt>
                <c:pt idx="732">
                  <c:v>-5.5586592163800005E-2</c:v>
                </c:pt>
                <c:pt idx="733">
                  <c:v>-5.634040739752276E-2</c:v>
                </c:pt>
                <c:pt idx="734">
                  <c:v>-5.271657208116752E-2</c:v>
                </c:pt>
                <c:pt idx="735">
                  <c:v>-5.8375510321665533E-2</c:v>
                </c:pt>
                <c:pt idx="736">
                  <c:v>-5.8418560677153106E-2</c:v>
                </c:pt>
                <c:pt idx="737">
                  <c:v>-5.4568200187990343E-2</c:v>
                </c:pt>
                <c:pt idx="738">
                  <c:v>-5.6363261382191263E-2</c:v>
                </c:pt>
                <c:pt idx="739">
                  <c:v>-3.5607389588893409E-2</c:v>
                </c:pt>
                <c:pt idx="740">
                  <c:v>-3.7145280078679663E-2</c:v>
                </c:pt>
                <c:pt idx="741">
                  <c:v>-3.8197102703246374E-2</c:v>
                </c:pt>
                <c:pt idx="742">
                  <c:v>-3.59625554268279E-2</c:v>
                </c:pt>
                <c:pt idx="743">
                  <c:v>-3.8368763849664908E-2</c:v>
                </c:pt>
                <c:pt idx="744">
                  <c:v>-5.184516655179304E-2</c:v>
                </c:pt>
                <c:pt idx="745">
                  <c:v>-3.8353344991495439E-2</c:v>
                </c:pt>
                <c:pt idx="746">
                  <c:v>-4.2606912567943342E-2</c:v>
                </c:pt>
                <c:pt idx="747">
                  <c:v>-3.2936471416981403E-2</c:v>
                </c:pt>
                <c:pt idx="748">
                  <c:v>-3.509447939712905E-2</c:v>
                </c:pt>
                <c:pt idx="749">
                  <c:v>-3.9989891716686085E-2</c:v>
                </c:pt>
                <c:pt idx="750">
                  <c:v>-4.6051422144048657E-2</c:v>
                </c:pt>
                <c:pt idx="751">
                  <c:v>-4.7886542007164565E-2</c:v>
                </c:pt>
                <c:pt idx="752">
                  <c:v>-3.9892855581453265E-2</c:v>
                </c:pt>
                <c:pt idx="753">
                  <c:v>-4.2006004892889068E-2</c:v>
                </c:pt>
                <c:pt idx="754">
                  <c:v>-4.8650199813057612E-2</c:v>
                </c:pt>
                <c:pt idx="755">
                  <c:v>-4.4910830316361436E-2</c:v>
                </c:pt>
                <c:pt idx="756">
                  <c:v>-3.4669919524253343E-2</c:v>
                </c:pt>
                <c:pt idx="757">
                  <c:v>-2.8043742639694766E-2</c:v>
                </c:pt>
                <c:pt idx="758">
                  <c:v>-2.3469946493429247E-2</c:v>
                </c:pt>
                <c:pt idx="759">
                  <c:v>-2.4273353763236569E-2</c:v>
                </c:pt>
                <c:pt idx="760">
                  <c:v>-1.5796599266729591E-2</c:v>
                </c:pt>
                <c:pt idx="761">
                  <c:v>-1.5919864422937344E-2</c:v>
                </c:pt>
                <c:pt idx="762">
                  <c:v>-1.1960688048356802E-2</c:v>
                </c:pt>
                <c:pt idx="763">
                  <c:v>-1.0298501320825645E-2</c:v>
                </c:pt>
                <c:pt idx="764">
                  <c:v>-2.1359038653712456E-2</c:v>
                </c:pt>
                <c:pt idx="765">
                  <c:v>-2.0267181386033659E-2</c:v>
                </c:pt>
                <c:pt idx="766">
                  <c:v>-2.0116392766735366E-2</c:v>
                </c:pt>
                <c:pt idx="767">
                  <c:v>-2.6103397324020325E-2</c:v>
                </c:pt>
                <c:pt idx="768">
                  <c:v>-2.0834478583221946E-2</c:v>
                </c:pt>
                <c:pt idx="769">
                  <c:v>-2.6073116109851732E-2</c:v>
                </c:pt>
                <c:pt idx="770">
                  <c:v>-2.4325432988666504E-2</c:v>
                </c:pt>
                <c:pt idx="771">
                  <c:v>-2.2408967153483159E-2</c:v>
                </c:pt>
                <c:pt idx="772">
                  <c:v>-3.0692578192536887E-2</c:v>
                </c:pt>
                <c:pt idx="773">
                  <c:v>-2.424768893598471E-2</c:v>
                </c:pt>
                <c:pt idx="774">
                  <c:v>-1.0026375194093759E-2</c:v>
                </c:pt>
                <c:pt idx="775">
                  <c:v>-2.7402001647221924E-3</c:v>
                </c:pt>
                <c:pt idx="776">
                  <c:v>-6.9592303921641591E-3</c:v>
                </c:pt>
                <c:pt idx="777">
                  <c:v>-2.7817939918566501E-2</c:v>
                </c:pt>
                <c:pt idx="778">
                  <c:v>-2.4405723132228982E-2</c:v>
                </c:pt>
                <c:pt idx="779">
                  <c:v>-2.1318769659362177E-2</c:v>
                </c:pt>
                <c:pt idx="780">
                  <c:v>-2.5571007282208832E-2</c:v>
                </c:pt>
                <c:pt idx="781">
                  <c:v>-2.1158145951730475E-2</c:v>
                </c:pt>
                <c:pt idx="782">
                  <c:v>-1.5879795054691268E-2</c:v>
                </c:pt>
                <c:pt idx="783">
                  <c:v>-2.2086088346319407E-2</c:v>
                </c:pt>
                <c:pt idx="784">
                  <c:v>-1.7022410601678736E-2</c:v>
                </c:pt>
                <c:pt idx="785">
                  <c:v>-2.167400548984498E-2</c:v>
                </c:pt>
                <c:pt idx="786">
                  <c:v>-2.6461270544064316E-2</c:v>
                </c:pt>
                <c:pt idx="787">
                  <c:v>-2.9861311948255906E-2</c:v>
                </c:pt>
                <c:pt idx="788">
                  <c:v>-2.0375322036795471E-2</c:v>
                </c:pt>
                <c:pt idx="789">
                  <c:v>-1.7650829253458275E-2</c:v>
                </c:pt>
                <c:pt idx="790">
                  <c:v>-1.9311256921818773E-2</c:v>
                </c:pt>
                <c:pt idx="791">
                  <c:v>-1.4324486808967793E-2</c:v>
                </c:pt>
                <c:pt idx="792">
                  <c:v>-1.1596533839110287E-2</c:v>
                </c:pt>
                <c:pt idx="793">
                  <c:v>-1.4747037856142606E-2</c:v>
                </c:pt>
                <c:pt idx="794">
                  <c:v>-8.4137435298310276E-3</c:v>
                </c:pt>
                <c:pt idx="795">
                  <c:v>-6.8529685724941641E-3</c:v>
                </c:pt>
                <c:pt idx="796">
                  <c:v>-7.5009356005187738E-3</c:v>
                </c:pt>
                <c:pt idx="797">
                  <c:v>1.7931379118778651E-3</c:v>
                </c:pt>
                <c:pt idx="798">
                  <c:v>6.2514751470038737E-3</c:v>
                </c:pt>
                <c:pt idx="799">
                  <c:v>5.6232733129615436E-3</c:v>
                </c:pt>
                <c:pt idx="800">
                  <c:v>5.0088731852425822E-3</c:v>
                </c:pt>
                <c:pt idx="801">
                  <c:v>1.1412532320405205E-3</c:v>
                </c:pt>
                <c:pt idx="802">
                  <c:v>8.7116211259305049E-3</c:v>
                </c:pt>
                <c:pt idx="803">
                  <c:v>3.5473976079522102E-3</c:v>
                </c:pt>
                <c:pt idx="804">
                  <c:v>4.3970485607520843E-3</c:v>
                </c:pt>
                <c:pt idx="805">
                  <c:v>3.5332653785508233E-3</c:v>
                </c:pt>
                <c:pt idx="806">
                  <c:v>9.297871878980471E-3</c:v>
                </c:pt>
                <c:pt idx="807">
                  <c:v>2.3003368267820359E-2</c:v>
                </c:pt>
                <c:pt idx="808">
                  <c:v>2.0844480396246992E-2</c:v>
                </c:pt>
                <c:pt idx="809">
                  <c:v>1.1432371896324636E-2</c:v>
                </c:pt>
                <c:pt idx="810">
                  <c:v>1.7648602122961723E-2</c:v>
                </c:pt>
                <c:pt idx="811">
                  <c:v>1.760755935064641E-2</c:v>
                </c:pt>
                <c:pt idx="812">
                  <c:v>7.5000570240639913E-3</c:v>
                </c:pt>
                <c:pt idx="813">
                  <c:v>1.6001348517872618E-2</c:v>
                </c:pt>
                <c:pt idx="814">
                  <c:v>7.733349736378084E-3</c:v>
                </c:pt>
                <c:pt idx="815">
                  <c:v>3.779493501744613E-5</c:v>
                </c:pt>
                <c:pt idx="816">
                  <c:v>7.049323952368805E-3</c:v>
                </c:pt>
                <c:pt idx="817">
                  <c:v>9.1655067068180524E-3</c:v>
                </c:pt>
                <c:pt idx="818">
                  <c:v>-2.0597687798586811E-3</c:v>
                </c:pt>
                <c:pt idx="819">
                  <c:v>-1.7353455351978159E-3</c:v>
                </c:pt>
                <c:pt idx="820">
                  <c:v>-5.8186146403503558E-4</c:v>
                </c:pt>
                <c:pt idx="821">
                  <c:v>1.8611910862143116E-3</c:v>
                </c:pt>
                <c:pt idx="822">
                  <c:v>3.5161977050370968E-3</c:v>
                </c:pt>
                <c:pt idx="823">
                  <c:v>4.9687785242523846E-3</c:v>
                </c:pt>
                <c:pt idx="824">
                  <c:v>1.3383577318815801E-2</c:v>
                </c:pt>
                <c:pt idx="825">
                  <c:v>1.1511795006809003E-2</c:v>
                </c:pt>
                <c:pt idx="826">
                  <c:v>2.258701487924078E-3</c:v>
                </c:pt>
                <c:pt idx="827">
                  <c:v>6.4346029348414518E-3</c:v>
                </c:pt>
                <c:pt idx="828">
                  <c:v>-3.5785045692542233E-3</c:v>
                </c:pt>
                <c:pt idx="829">
                  <c:v>-4.6122042399665414E-3</c:v>
                </c:pt>
                <c:pt idx="830">
                  <c:v>-7.072015612012969E-3</c:v>
                </c:pt>
                <c:pt idx="831">
                  <c:v>-5.3850561510106892E-3</c:v>
                </c:pt>
                <c:pt idx="832">
                  <c:v>-1.0512214776181347E-2</c:v>
                </c:pt>
                <c:pt idx="833">
                  <c:v>-7.0838506419354935E-3</c:v>
                </c:pt>
                <c:pt idx="834">
                  <c:v>-1.520049330333105E-2</c:v>
                </c:pt>
                <c:pt idx="835">
                  <c:v>-1.6987656229260892E-2</c:v>
                </c:pt>
                <c:pt idx="836">
                  <c:v>-1.5632484756865836E-2</c:v>
                </c:pt>
                <c:pt idx="837">
                  <c:v>-1.7085046825507474E-2</c:v>
                </c:pt>
                <c:pt idx="838">
                  <c:v>-1.6734029635761857E-2</c:v>
                </c:pt>
                <c:pt idx="839">
                  <c:v>-7.5059595652162553E-3</c:v>
                </c:pt>
                <c:pt idx="840">
                  <c:v>-1.0072845761243107E-2</c:v>
                </c:pt>
                <c:pt idx="841">
                  <c:v>-9.8614989294347616E-3</c:v>
                </c:pt>
                <c:pt idx="842">
                  <c:v>-4.8512858838527378E-3</c:v>
                </c:pt>
                <c:pt idx="843">
                  <c:v>-5.1040181724222172E-3</c:v>
                </c:pt>
                <c:pt idx="844">
                  <c:v>-9.1802423350616225E-4</c:v>
                </c:pt>
                <c:pt idx="845">
                  <c:v>6.7762504303139487E-3</c:v>
                </c:pt>
                <c:pt idx="846">
                  <c:v>1.1348223847061481E-2</c:v>
                </c:pt>
                <c:pt idx="847">
                  <c:v>1.0399340681060201E-2</c:v>
                </c:pt>
                <c:pt idx="848">
                  <c:v>8.2080054729880697E-3</c:v>
                </c:pt>
                <c:pt idx="849">
                  <c:v>1.1922181402422641E-2</c:v>
                </c:pt>
                <c:pt idx="850">
                  <c:v>-9.7445322971831394E-5</c:v>
                </c:pt>
                <c:pt idx="851">
                  <c:v>-3.2541609541142241E-3</c:v>
                </c:pt>
                <c:pt idx="852">
                  <c:v>-8.3734059906293984E-3</c:v>
                </c:pt>
                <c:pt idx="853">
                  <c:v>-9.3932833082795847E-3</c:v>
                </c:pt>
                <c:pt idx="854">
                  <c:v>-1.6865106173366104E-2</c:v>
                </c:pt>
                <c:pt idx="855">
                  <c:v>-1.4161773088253823E-2</c:v>
                </c:pt>
                <c:pt idx="856">
                  <c:v>-6.186136799603989E-3</c:v>
                </c:pt>
                <c:pt idx="857">
                  <c:v>-5.8283688776936543E-3</c:v>
                </c:pt>
                <c:pt idx="858">
                  <c:v>-5.5081510412826468E-3</c:v>
                </c:pt>
                <c:pt idx="859">
                  <c:v>-1.0189116400803749E-3</c:v>
                </c:pt>
                <c:pt idx="860">
                  <c:v>-2.8963090514198819E-4</c:v>
                </c:pt>
                <c:pt idx="861">
                  <c:v>-9.89129617422356E-3</c:v>
                </c:pt>
                <c:pt idx="862">
                  <c:v>-6.6885038078092623E-3</c:v>
                </c:pt>
                <c:pt idx="863">
                  <c:v>-1.6907130814219781E-2</c:v>
                </c:pt>
                <c:pt idx="864">
                  <c:v>-4.8153556728930264E-3</c:v>
                </c:pt>
                <c:pt idx="865">
                  <c:v>-3.0060410045130576E-3</c:v>
                </c:pt>
                <c:pt idx="866">
                  <c:v>-6.5297067621469113E-3</c:v>
                </c:pt>
                <c:pt idx="867">
                  <c:v>-1.6415147531799165E-2</c:v>
                </c:pt>
                <c:pt idx="868">
                  <c:v>-1.3844927193143661E-2</c:v>
                </c:pt>
                <c:pt idx="869">
                  <c:v>-1.3070781780075244E-2</c:v>
                </c:pt>
                <c:pt idx="870">
                  <c:v>-8.8301775008412381E-3</c:v>
                </c:pt>
                <c:pt idx="871">
                  <c:v>-1.6757340801977647E-2</c:v>
                </c:pt>
                <c:pt idx="872">
                  <c:v>-9.5634490939203592E-3</c:v>
                </c:pt>
                <c:pt idx="873">
                  <c:v>-9.9142035825071501E-3</c:v>
                </c:pt>
                <c:pt idx="874">
                  <c:v>-5.2827763353754248E-3</c:v>
                </c:pt>
                <c:pt idx="875">
                  <c:v>-5.8829009687261097E-3</c:v>
                </c:pt>
                <c:pt idx="876">
                  <c:v>-7.0974739448116247E-3</c:v>
                </c:pt>
                <c:pt idx="877">
                  <c:v>-1.0337263685606043E-2</c:v>
                </c:pt>
                <c:pt idx="878">
                  <c:v>-4.0730249412501557E-3</c:v>
                </c:pt>
                <c:pt idx="879">
                  <c:v>-3.0235619569502908E-3</c:v>
                </c:pt>
                <c:pt idx="880">
                  <c:v>1.3424489882867402E-3</c:v>
                </c:pt>
                <c:pt idx="881">
                  <c:v>4.1170687929264066E-3</c:v>
                </c:pt>
                <c:pt idx="882">
                  <c:v>8.3067785451936965E-3</c:v>
                </c:pt>
                <c:pt idx="883">
                  <c:v>3.1357262172764383E-3</c:v>
                </c:pt>
                <c:pt idx="884">
                  <c:v>3.0876527164226536E-3</c:v>
                </c:pt>
                <c:pt idx="885">
                  <c:v>5.3351793447571488E-3</c:v>
                </c:pt>
                <c:pt idx="886">
                  <c:v>1.3148432733721474E-2</c:v>
                </c:pt>
                <c:pt idx="887">
                  <c:v>1.2798828865112535E-2</c:v>
                </c:pt>
                <c:pt idx="888">
                  <c:v>2.0767113719884614E-2</c:v>
                </c:pt>
                <c:pt idx="889">
                  <c:v>1.6563047254596577E-2</c:v>
                </c:pt>
                <c:pt idx="890">
                  <c:v>2.5210774200034383E-2</c:v>
                </c:pt>
                <c:pt idx="891">
                  <c:v>4.2513232829229933E-2</c:v>
                </c:pt>
                <c:pt idx="892">
                  <c:v>4.1171796878092595E-2</c:v>
                </c:pt>
                <c:pt idx="893">
                  <c:v>3.9927938372016039E-2</c:v>
                </c:pt>
                <c:pt idx="894">
                  <c:v>3.661914027646597E-2</c:v>
                </c:pt>
                <c:pt idx="895">
                  <c:v>3.880135013875409E-2</c:v>
                </c:pt>
                <c:pt idx="896">
                  <c:v>3.9702279523519915E-2</c:v>
                </c:pt>
                <c:pt idx="897">
                  <c:v>4.4009081819229592E-2</c:v>
                </c:pt>
                <c:pt idx="898">
                  <c:v>3.8807080273910458E-2</c:v>
                </c:pt>
                <c:pt idx="899">
                  <c:v>3.6568652921104686E-2</c:v>
                </c:pt>
                <c:pt idx="900">
                  <c:v>3.8544558270366527E-2</c:v>
                </c:pt>
                <c:pt idx="901">
                  <c:v>3.8918438881717546E-2</c:v>
                </c:pt>
                <c:pt idx="902">
                  <c:v>3.2563700913404894E-2</c:v>
                </c:pt>
                <c:pt idx="903">
                  <c:v>1.7629592254873164E-2</c:v>
                </c:pt>
                <c:pt idx="904">
                  <c:v>3.957386747846639E-3</c:v>
                </c:pt>
                <c:pt idx="905">
                  <c:v>1.2272516669274217E-2</c:v>
                </c:pt>
                <c:pt idx="906">
                  <c:v>9.9417413536645599E-3</c:v>
                </c:pt>
                <c:pt idx="907">
                  <c:v>1.4634668974890866E-2</c:v>
                </c:pt>
                <c:pt idx="908">
                  <c:v>3.4494075084847836E-3</c:v>
                </c:pt>
                <c:pt idx="909">
                  <c:v>5.8658211481688177E-3</c:v>
                </c:pt>
                <c:pt idx="910">
                  <c:v>1.1020570066167315E-2</c:v>
                </c:pt>
                <c:pt idx="911">
                  <c:v>1.4666492701550196E-2</c:v>
                </c:pt>
                <c:pt idx="912">
                  <c:v>1.5746556386377911E-2</c:v>
                </c:pt>
                <c:pt idx="913">
                  <c:v>2.0597770014514252E-2</c:v>
                </c:pt>
                <c:pt idx="914">
                  <c:v>2.0242688555537139E-2</c:v>
                </c:pt>
                <c:pt idx="915">
                  <c:v>1.5752138128897988E-2</c:v>
                </c:pt>
                <c:pt idx="916">
                  <c:v>1.5152157050079565E-2</c:v>
                </c:pt>
                <c:pt idx="917">
                  <c:v>1.4395974972627693E-2</c:v>
                </c:pt>
                <c:pt idx="918">
                  <c:v>1.9808212561395658E-2</c:v>
                </c:pt>
                <c:pt idx="919">
                  <c:v>2.0296000074279244E-2</c:v>
                </c:pt>
                <c:pt idx="920">
                  <c:v>1.3113634533933452E-2</c:v>
                </c:pt>
                <c:pt idx="921">
                  <c:v>2.9643146213775978E-3</c:v>
                </c:pt>
                <c:pt idx="922">
                  <c:v>3.4615429984521523E-3</c:v>
                </c:pt>
                <c:pt idx="923">
                  <c:v>1.1608657836575956E-2</c:v>
                </c:pt>
                <c:pt idx="924">
                  <c:v>1.4256953350764504E-2</c:v>
                </c:pt>
                <c:pt idx="925">
                  <c:v>1.2462595992535644E-2</c:v>
                </c:pt>
                <c:pt idx="926">
                  <c:v>5.2826805437976715E-3</c:v>
                </c:pt>
                <c:pt idx="927">
                  <c:v>4.5389638007950067E-3</c:v>
                </c:pt>
                <c:pt idx="928">
                  <c:v>1.0652545651671189E-2</c:v>
                </c:pt>
                <c:pt idx="929">
                  <c:v>8.4539304671647081E-3</c:v>
                </c:pt>
                <c:pt idx="930">
                  <c:v>-6.6238038749831529E-4</c:v>
                </c:pt>
                <c:pt idx="931">
                  <c:v>1.471377252501585E-3</c:v>
                </c:pt>
                <c:pt idx="932">
                  <c:v>1.5541116440586769E-2</c:v>
                </c:pt>
                <c:pt idx="933">
                  <c:v>2.3187935299992427E-2</c:v>
                </c:pt>
                <c:pt idx="934">
                  <c:v>3.5702728867978664E-2</c:v>
                </c:pt>
                <c:pt idx="935">
                  <c:v>2.7474305214299624E-2</c:v>
                </c:pt>
                <c:pt idx="936">
                  <c:v>3.1030717083350048E-2</c:v>
                </c:pt>
                <c:pt idx="937">
                  <c:v>2.9008344498976282E-2</c:v>
                </c:pt>
                <c:pt idx="938">
                  <c:v>3.7878190601851727E-2</c:v>
                </c:pt>
                <c:pt idx="939">
                  <c:v>3.6844419680350807E-2</c:v>
                </c:pt>
                <c:pt idx="940">
                  <c:v>4.4736084451839089E-2</c:v>
                </c:pt>
                <c:pt idx="941">
                  <c:v>3.9877950279892063E-2</c:v>
                </c:pt>
                <c:pt idx="942">
                  <c:v>3.493751938718638E-2</c:v>
                </c:pt>
                <c:pt idx="943">
                  <c:v>2.5335702354454384E-2</c:v>
                </c:pt>
                <c:pt idx="944">
                  <c:v>1.6083026408483372E-2</c:v>
                </c:pt>
                <c:pt idx="945">
                  <c:v>1.0405106475528628E-2</c:v>
                </c:pt>
                <c:pt idx="946">
                  <c:v>7.1343762820145346E-3</c:v>
                </c:pt>
                <c:pt idx="947">
                  <c:v>1.3250446167473853E-2</c:v>
                </c:pt>
                <c:pt idx="948">
                  <c:v>3.5515344680009525E-3</c:v>
                </c:pt>
                <c:pt idx="949">
                  <c:v>7.9008283129392703E-3</c:v>
                </c:pt>
                <c:pt idx="950">
                  <c:v>1.2436518286581003E-2</c:v>
                </c:pt>
                <c:pt idx="951">
                  <c:v>1.2617435661083989E-2</c:v>
                </c:pt>
                <c:pt idx="952">
                  <c:v>1.596537042621772E-2</c:v>
                </c:pt>
                <c:pt idx="953">
                  <c:v>1.3869013596151683E-2</c:v>
                </c:pt>
                <c:pt idx="954">
                  <c:v>9.468426999911031E-3</c:v>
                </c:pt>
                <c:pt idx="955">
                  <c:v>-2.1163326450233944E-4</c:v>
                </c:pt>
                <c:pt idx="956">
                  <c:v>5.1090358874053138E-3</c:v>
                </c:pt>
                <c:pt idx="957">
                  <c:v>-2.0232175602490216E-3</c:v>
                </c:pt>
                <c:pt idx="958">
                  <c:v>2.3258814392508459E-3</c:v>
                </c:pt>
                <c:pt idx="959">
                  <c:v>8.6072539943416043E-3</c:v>
                </c:pt>
                <c:pt idx="960">
                  <c:v>1.329724655764021E-2</c:v>
                </c:pt>
                <c:pt idx="961">
                  <c:v>5.6440130975503738E-3</c:v>
                </c:pt>
                <c:pt idx="962">
                  <c:v>4.529813252692319E-3</c:v>
                </c:pt>
                <c:pt idx="963">
                  <c:v>8.038997527421668E-3</c:v>
                </c:pt>
                <c:pt idx="964">
                  <c:v>3.8198836214644732E-3</c:v>
                </c:pt>
                <c:pt idx="965">
                  <c:v>2.5897965395505068E-3</c:v>
                </c:pt>
                <c:pt idx="966">
                  <c:v>2.9643845583046252E-3</c:v>
                </c:pt>
                <c:pt idx="967">
                  <c:v>-9.5848769358440611E-4</c:v>
                </c:pt>
                <c:pt idx="968">
                  <c:v>-4.6492180158333868E-3</c:v>
                </c:pt>
                <c:pt idx="969">
                  <c:v>-6.0082704852660734E-3</c:v>
                </c:pt>
                <c:pt idx="970">
                  <c:v>-6.2019338899186177E-3</c:v>
                </c:pt>
                <c:pt idx="971">
                  <c:v>-1.3091575636672056E-2</c:v>
                </c:pt>
                <c:pt idx="972">
                  <c:v>-1.4155402409608095E-2</c:v>
                </c:pt>
                <c:pt idx="973">
                  <c:v>-1.5204414494019866E-2</c:v>
                </c:pt>
                <c:pt idx="974">
                  <c:v>-9.6218019798879201E-3</c:v>
                </c:pt>
                <c:pt idx="975">
                  <c:v>-8.5292615571237324E-3</c:v>
                </c:pt>
                <c:pt idx="976">
                  <c:v>-1.0582162792382652E-2</c:v>
                </c:pt>
                <c:pt idx="977">
                  <c:v>-1.7102627665566902E-2</c:v>
                </c:pt>
                <c:pt idx="978">
                  <c:v>-1.6556818482907784E-2</c:v>
                </c:pt>
                <c:pt idx="979">
                  <c:v>-2.2655525354116954E-2</c:v>
                </c:pt>
                <c:pt idx="980">
                  <c:v>-1.6509203787238622E-2</c:v>
                </c:pt>
                <c:pt idx="981">
                  <c:v>-1.7545265638322358E-2</c:v>
                </c:pt>
                <c:pt idx="982">
                  <c:v>-1.826870448722194E-2</c:v>
                </c:pt>
                <c:pt idx="983">
                  <c:v>-1.1744801477650987E-2</c:v>
                </c:pt>
                <c:pt idx="984">
                  <c:v>-4.435109081511443E-3</c:v>
                </c:pt>
                <c:pt idx="985">
                  <c:v>8.1351806783697272E-3</c:v>
                </c:pt>
                <c:pt idx="986">
                  <c:v>1.2689255615485076E-2</c:v>
                </c:pt>
                <c:pt idx="987">
                  <c:v>1.3584523370645099E-2</c:v>
                </c:pt>
                <c:pt idx="988">
                  <c:v>1.440309928167495E-2</c:v>
                </c:pt>
                <c:pt idx="989">
                  <c:v>1.3715328625790627E-2</c:v>
                </c:pt>
                <c:pt idx="990">
                  <c:v>1.731534847693629E-2</c:v>
                </c:pt>
                <c:pt idx="991">
                  <c:v>2.2919407540163542E-2</c:v>
                </c:pt>
                <c:pt idx="992">
                  <c:v>2.314193688776435E-2</c:v>
                </c:pt>
                <c:pt idx="993">
                  <c:v>2.3961463536130392E-2</c:v>
                </c:pt>
                <c:pt idx="994">
                  <c:v>2.4601532525541883E-2</c:v>
                </c:pt>
                <c:pt idx="995">
                  <c:v>2.7347436954565665E-2</c:v>
                </c:pt>
                <c:pt idx="996">
                  <c:v>3.0482604169510222E-2</c:v>
                </c:pt>
                <c:pt idx="997">
                  <c:v>2.8146361620678198E-2</c:v>
                </c:pt>
                <c:pt idx="998">
                  <c:v>3.8411720253623063E-2</c:v>
                </c:pt>
                <c:pt idx="999">
                  <c:v>3.7700737499935091E-2</c:v>
                </c:pt>
                <c:pt idx="1000">
                  <c:v>3.1531438137102588E-2</c:v>
                </c:pt>
                <c:pt idx="1001">
                  <c:v>4.2620946281522923E-2</c:v>
                </c:pt>
                <c:pt idx="1002">
                  <c:v>3.5827342506553075E-2</c:v>
                </c:pt>
                <c:pt idx="1003">
                  <c:v>3.4869759409715054E-2</c:v>
                </c:pt>
                <c:pt idx="1004">
                  <c:v>2.7563426282561268E-2</c:v>
                </c:pt>
                <c:pt idx="1005">
                  <c:v>3.2750779569313618E-2</c:v>
                </c:pt>
                <c:pt idx="1006">
                  <c:v>3.1124527374010405E-2</c:v>
                </c:pt>
                <c:pt idx="1007">
                  <c:v>3.6388140052507137E-2</c:v>
                </c:pt>
                <c:pt idx="1008">
                  <c:v>4.2249604594721504E-2</c:v>
                </c:pt>
                <c:pt idx="1009">
                  <c:v>4.3804325211810893E-2</c:v>
                </c:pt>
                <c:pt idx="1010">
                  <c:v>3.677492514357962E-2</c:v>
                </c:pt>
                <c:pt idx="1011">
                  <c:v>4.0446136387958145E-2</c:v>
                </c:pt>
                <c:pt idx="1012">
                  <c:v>4.0686262136536935E-2</c:v>
                </c:pt>
                <c:pt idx="1013">
                  <c:v>3.2609383597485567E-2</c:v>
                </c:pt>
                <c:pt idx="1014">
                  <c:v>3.1636018422919646E-2</c:v>
                </c:pt>
                <c:pt idx="1015">
                  <c:v>3.1109582268660688E-2</c:v>
                </c:pt>
                <c:pt idx="1016">
                  <c:v>2.9197902974834281E-2</c:v>
                </c:pt>
                <c:pt idx="1017">
                  <c:v>3.7611845891052612E-2</c:v>
                </c:pt>
                <c:pt idx="1018">
                  <c:v>2.587954459523302E-2</c:v>
                </c:pt>
                <c:pt idx="1019">
                  <c:v>2.2596140511224064E-2</c:v>
                </c:pt>
                <c:pt idx="1020">
                  <c:v>1.888532768721575E-2</c:v>
                </c:pt>
                <c:pt idx="1021">
                  <c:v>1.9383507928304025E-2</c:v>
                </c:pt>
                <c:pt idx="1022">
                  <c:v>2.2308965485688295E-2</c:v>
                </c:pt>
                <c:pt idx="1023">
                  <c:v>1.1671240122450813E-2</c:v>
                </c:pt>
                <c:pt idx="1024">
                  <c:v>1.4295215515019014E-2</c:v>
                </c:pt>
                <c:pt idx="1025">
                  <c:v>1.7432169904157538E-2</c:v>
                </c:pt>
                <c:pt idx="1026">
                  <c:v>1.6037070500732123E-2</c:v>
                </c:pt>
                <c:pt idx="1027">
                  <c:v>7.3061728802077536E-3</c:v>
                </c:pt>
                <c:pt idx="1028">
                  <c:v>5.3425425349321737E-3</c:v>
                </c:pt>
                <c:pt idx="1029">
                  <c:v>3.4426211544972413E-3</c:v>
                </c:pt>
                <c:pt idx="1030">
                  <c:v>5.3802449923703449E-3</c:v>
                </c:pt>
                <c:pt idx="1031">
                  <c:v>6.2121347535858545E-3</c:v>
                </c:pt>
                <c:pt idx="1032">
                  <c:v>1.6445611358951409E-2</c:v>
                </c:pt>
                <c:pt idx="1033">
                  <c:v>1.3505226215472801E-2</c:v>
                </c:pt>
                <c:pt idx="1034">
                  <c:v>2.1988719294012596E-2</c:v>
                </c:pt>
                <c:pt idx="1035">
                  <c:v>2.2789993097787078E-2</c:v>
                </c:pt>
                <c:pt idx="1036">
                  <c:v>2.2683551272498451E-2</c:v>
                </c:pt>
                <c:pt idx="1037">
                  <c:v>1.612571627559202E-2</c:v>
                </c:pt>
                <c:pt idx="1038">
                  <c:v>7.4685467496895669E-3</c:v>
                </c:pt>
                <c:pt idx="1039">
                  <c:v>8.0848077534238089E-3</c:v>
                </c:pt>
                <c:pt idx="1040">
                  <c:v>6.3357204704294207E-3</c:v>
                </c:pt>
                <c:pt idx="1041">
                  <c:v>6.8713855938387219E-3</c:v>
                </c:pt>
                <c:pt idx="1042">
                  <c:v>5.339140726374994E-3</c:v>
                </c:pt>
                <c:pt idx="1043">
                  <c:v>-3.3224127215241012E-3</c:v>
                </c:pt>
                <c:pt idx="1044">
                  <c:v>2.3014060142543494E-2</c:v>
                </c:pt>
                <c:pt idx="1045">
                  <c:v>-4.1598798447080906E-2</c:v>
                </c:pt>
                <c:pt idx="1046">
                  <c:v>-3.6351264156582505E-2</c:v>
                </c:pt>
                <c:pt idx="1047">
                  <c:v>-2.3734253654391496E-3</c:v>
                </c:pt>
                <c:pt idx="1048">
                  <c:v>-3.2907857741100041E-2</c:v>
                </c:pt>
                <c:pt idx="1049">
                  <c:v>-4.5190032618357842E-2</c:v>
                </c:pt>
                <c:pt idx="1050">
                  <c:v>-8.3860887172681683E-2</c:v>
                </c:pt>
                <c:pt idx="1051">
                  <c:v>-9.5458973872037264E-2</c:v>
                </c:pt>
                <c:pt idx="1052">
                  <c:v>-8.2476664630454541E-2</c:v>
                </c:pt>
                <c:pt idx="1053">
                  <c:v>-3.8949483382274094E-2</c:v>
                </c:pt>
                <c:pt idx="1054">
                  <c:v>-7.7155939850611074E-2</c:v>
                </c:pt>
                <c:pt idx="1055">
                  <c:v>-8.7780009979499737E-2</c:v>
                </c:pt>
                <c:pt idx="1056">
                  <c:v>-5.7760198900641643E-2</c:v>
                </c:pt>
                <c:pt idx="1057">
                  <c:v>-5.4804927036308335E-2</c:v>
                </c:pt>
                <c:pt idx="1058">
                  <c:v>-5.9823369779457777E-2</c:v>
                </c:pt>
                <c:pt idx="1059">
                  <c:v>-6.8643210704482635E-2</c:v>
                </c:pt>
                <c:pt idx="1060">
                  <c:v>-5.1712184813534554E-2</c:v>
                </c:pt>
                <c:pt idx="1061">
                  <c:v>-5.1463520968850623E-3</c:v>
                </c:pt>
                <c:pt idx="1062">
                  <c:v>-2.3162755002291563E-3</c:v>
                </c:pt>
                <c:pt idx="1063">
                  <c:v>1.1105793419489599E-2</c:v>
                </c:pt>
                <c:pt idx="1064">
                  <c:v>-9.0127165726712061E-3</c:v>
                </c:pt>
                <c:pt idx="1065">
                  <c:v>-1.2436230645041055E-2</c:v>
                </c:pt>
                <c:pt idx="1066">
                  <c:v>-2.0046608612969002E-3</c:v>
                </c:pt>
                <c:pt idx="1067">
                  <c:v>1.0692171594202243E-3</c:v>
                </c:pt>
                <c:pt idx="1068">
                  <c:v>7.796770012762369E-3</c:v>
                </c:pt>
                <c:pt idx="1069">
                  <c:v>-1.024487353288249E-2</c:v>
                </c:pt>
                <c:pt idx="1070">
                  <c:v>-3.4041566736196502E-2</c:v>
                </c:pt>
                <c:pt idx="1071">
                  <c:v>-5.8609072489718458E-2</c:v>
                </c:pt>
                <c:pt idx="1072">
                  <c:v>-5.2916014173776102E-2</c:v>
                </c:pt>
                <c:pt idx="1073">
                  <c:v>-4.5748881495180513E-2</c:v>
                </c:pt>
                <c:pt idx="1074">
                  <c:v>-3.4387920219835041E-2</c:v>
                </c:pt>
                <c:pt idx="1075">
                  <c:v>-1.7178774384296588E-2</c:v>
                </c:pt>
                <c:pt idx="1076">
                  <c:v>-1.0427710564495637E-2</c:v>
                </c:pt>
                <c:pt idx="1077">
                  <c:v>-3.6423105904374795E-2</c:v>
                </c:pt>
                <c:pt idx="1078">
                  <c:v>-5.5892470191836838E-2</c:v>
                </c:pt>
                <c:pt idx="1079">
                  <c:v>-3.0175242401174404E-2</c:v>
                </c:pt>
                <c:pt idx="1080">
                  <c:v>-7.184262680601336E-3</c:v>
                </c:pt>
                <c:pt idx="1081">
                  <c:v>-4.5670408393801529E-2</c:v>
                </c:pt>
                <c:pt idx="1082">
                  <c:v>-4.3230882472843554E-2</c:v>
                </c:pt>
                <c:pt idx="1083">
                  <c:v>-4.2567019072418874E-2</c:v>
                </c:pt>
                <c:pt idx="1084">
                  <c:v>-0.10493393412688866</c:v>
                </c:pt>
                <c:pt idx="1085">
                  <c:v>-3.6327147619899955E-2</c:v>
                </c:pt>
                <c:pt idx="1086">
                  <c:v>-2.1248970537929943E-2</c:v>
                </c:pt>
                <c:pt idx="1087">
                  <c:v>-3.2676862650975677E-2</c:v>
                </c:pt>
                <c:pt idx="1088">
                  <c:v>-3.3232996523571687E-2</c:v>
                </c:pt>
                <c:pt idx="1089">
                  <c:v>-1.5325691785143966E-2</c:v>
                </c:pt>
                <c:pt idx="1090">
                  <c:v>1.6845928859815187E-2</c:v>
                </c:pt>
                <c:pt idx="1091">
                  <c:v>8.1743778898187985E-3</c:v>
                </c:pt>
                <c:pt idx="1092">
                  <c:v>2.2529725637815759E-2</c:v>
                </c:pt>
                <c:pt idx="1093">
                  <c:v>6.5913663426040339E-2</c:v>
                </c:pt>
                <c:pt idx="1094">
                  <c:v>0.10668343583622254</c:v>
                </c:pt>
                <c:pt idx="1095">
                  <c:v>0.12530723995153559</c:v>
                </c:pt>
                <c:pt idx="1096">
                  <c:v>0.14452567059571331</c:v>
                </c:pt>
                <c:pt idx="1097">
                  <c:v>0.14271054833051322</c:v>
                </c:pt>
                <c:pt idx="1098">
                  <c:v>0.17929386205898667</c:v>
                </c:pt>
                <c:pt idx="1099">
                  <c:v>0.14656682690714851</c:v>
                </c:pt>
                <c:pt idx="1100">
                  <c:v>0.16348841609912368</c:v>
                </c:pt>
                <c:pt idx="1101">
                  <c:v>0.15931400029888887</c:v>
                </c:pt>
                <c:pt idx="1102">
                  <c:v>0.15432821205278524</c:v>
                </c:pt>
                <c:pt idx="1103">
                  <c:v>0.16046770268601751</c:v>
                </c:pt>
                <c:pt idx="1104">
                  <c:v>9.380947826957832E-2</c:v>
                </c:pt>
                <c:pt idx="1105">
                  <c:v>9.6726145095256691E-2</c:v>
                </c:pt>
                <c:pt idx="1106">
                  <c:v>7.3050508896181934E-2</c:v>
                </c:pt>
                <c:pt idx="1107">
                  <c:v>5.7638796510797966E-2</c:v>
                </c:pt>
                <c:pt idx="1108">
                  <c:v>3.1636229033723887E-2</c:v>
                </c:pt>
                <c:pt idx="1109">
                  <c:v>-5.6417028777450126E-2</c:v>
                </c:pt>
                <c:pt idx="1110">
                  <c:v>-6.1596643248528635E-2</c:v>
                </c:pt>
                <c:pt idx="1111">
                  <c:v>-7.0410357016667952E-3</c:v>
                </c:pt>
                <c:pt idx="1112">
                  <c:v>-3.4568700557055937E-3</c:v>
                </c:pt>
                <c:pt idx="1113">
                  <c:v>-1.267666957992318E-2</c:v>
                </c:pt>
                <c:pt idx="1114">
                  <c:v>-1.6531759318825875E-2</c:v>
                </c:pt>
                <c:pt idx="1115">
                  <c:v>-2.2623406804660337E-2</c:v>
                </c:pt>
                <c:pt idx="1116">
                  <c:v>-2.2519797839884212E-2</c:v>
                </c:pt>
                <c:pt idx="1117">
                  <c:v>-1.7016976397282155E-2</c:v>
                </c:pt>
                <c:pt idx="1118">
                  <c:v>-4.1095210128263421E-3</c:v>
                </c:pt>
                <c:pt idx="1119">
                  <c:v>-9.5200252419255088E-3</c:v>
                </c:pt>
                <c:pt idx="1120">
                  <c:v>2.8781736077890946E-3</c:v>
                </c:pt>
                <c:pt idx="1121">
                  <c:v>1.133238821867634E-2</c:v>
                </c:pt>
                <c:pt idx="1122">
                  <c:v>1.3656015930506707E-2</c:v>
                </c:pt>
                <c:pt idx="1123">
                  <c:v>1.0691855617388071E-2</c:v>
                </c:pt>
                <c:pt idx="1124">
                  <c:v>8.0133844445866714E-3</c:v>
                </c:pt>
                <c:pt idx="1125">
                  <c:v>2.0218021829897195E-2</c:v>
                </c:pt>
                <c:pt idx="1126">
                  <c:v>2.0155416536725382E-2</c:v>
                </c:pt>
                <c:pt idx="1127">
                  <c:v>2.357520884554877E-2</c:v>
                </c:pt>
                <c:pt idx="1128">
                  <c:v>1.8131763494575806E-2</c:v>
                </c:pt>
                <c:pt idx="1129">
                  <c:v>1.1207918305935718E-2</c:v>
                </c:pt>
                <c:pt idx="1130">
                  <c:v>2.3638421963141823E-2</c:v>
                </c:pt>
                <c:pt idx="1131">
                  <c:v>2.8039232797499994E-2</c:v>
                </c:pt>
                <c:pt idx="1132">
                  <c:v>2.5237338024185166E-2</c:v>
                </c:pt>
                <c:pt idx="1133">
                  <c:v>2.4964594038543245E-2</c:v>
                </c:pt>
                <c:pt idx="1134">
                  <c:v>2.9230657817980746E-2</c:v>
                </c:pt>
                <c:pt idx="1135">
                  <c:v>3.359582126952744E-2</c:v>
                </c:pt>
                <c:pt idx="1136">
                  <c:v>2.2904045297827871E-2</c:v>
                </c:pt>
                <c:pt idx="1137">
                  <c:v>1.8919554680596598E-2</c:v>
                </c:pt>
                <c:pt idx="1138">
                  <c:v>1.4353658286831231E-2</c:v>
                </c:pt>
                <c:pt idx="1139">
                  <c:v>1.2875673907906685E-2</c:v>
                </c:pt>
                <c:pt idx="1140">
                  <c:v>1.3527188364424472E-2</c:v>
                </c:pt>
                <c:pt idx="1141">
                  <c:v>9.7024082483017221E-3</c:v>
                </c:pt>
                <c:pt idx="1142">
                  <c:v>5.7698359034815822E-3</c:v>
                </c:pt>
                <c:pt idx="1143">
                  <c:v>4.6045462700547019E-3</c:v>
                </c:pt>
                <c:pt idx="1144">
                  <c:v>1.1160943535595394E-2</c:v>
                </c:pt>
                <c:pt idx="1145">
                  <c:v>1.4154177136027082E-2</c:v>
                </c:pt>
                <c:pt idx="1146">
                  <c:v>2.2208995864672204E-3</c:v>
                </c:pt>
                <c:pt idx="1147">
                  <c:v>4.2373960032203867E-3</c:v>
                </c:pt>
                <c:pt idx="1148">
                  <c:v>8.282002610207298E-3</c:v>
                </c:pt>
                <c:pt idx="1149">
                  <c:v>1.195222189103419E-2</c:v>
                </c:pt>
                <c:pt idx="1150">
                  <c:v>8.982884255252746E-3</c:v>
                </c:pt>
                <c:pt idx="1151">
                  <c:v>-1.2251991119929112E-3</c:v>
                </c:pt>
                <c:pt idx="1152">
                  <c:v>1.0274331761452038E-4</c:v>
                </c:pt>
                <c:pt idx="1153">
                  <c:v>1.2271784791232823E-2</c:v>
                </c:pt>
                <c:pt idx="1154">
                  <c:v>9.9798836414759645E-3</c:v>
                </c:pt>
                <c:pt idx="1155">
                  <c:v>1.378148690281035E-2</c:v>
                </c:pt>
                <c:pt idx="1156">
                  <c:v>8.994133988279765E-3</c:v>
                </c:pt>
                <c:pt idx="1157">
                  <c:v>1.6157904455253905E-2</c:v>
                </c:pt>
                <c:pt idx="1158">
                  <c:v>2.6774731594594772E-2</c:v>
                </c:pt>
                <c:pt idx="1159">
                  <c:v>4.0888207540217616E-2</c:v>
                </c:pt>
                <c:pt idx="1160">
                  <c:v>4.0194904065920758E-2</c:v>
                </c:pt>
                <c:pt idx="1161">
                  <c:v>4.0947208879422506E-2</c:v>
                </c:pt>
                <c:pt idx="1162">
                  <c:v>4.5533749709460239E-2</c:v>
                </c:pt>
                <c:pt idx="1163">
                  <c:v>3.6377442035082433E-2</c:v>
                </c:pt>
                <c:pt idx="1164">
                  <c:v>2.3782146727674994E-2</c:v>
                </c:pt>
                <c:pt idx="1165">
                  <c:v>2.6486443089891246E-2</c:v>
                </c:pt>
                <c:pt idx="1166">
                  <c:v>3.0663136840308206E-2</c:v>
                </c:pt>
                <c:pt idx="1167">
                  <c:v>2.847639201126996E-2</c:v>
                </c:pt>
                <c:pt idx="1168">
                  <c:v>3.4259880775492371E-2</c:v>
                </c:pt>
                <c:pt idx="1169">
                  <c:v>3.3075509337051737E-2</c:v>
                </c:pt>
                <c:pt idx="1170">
                  <c:v>2.4179529315208295E-2</c:v>
                </c:pt>
                <c:pt idx="1171">
                  <c:v>2.0570316514058398E-2</c:v>
                </c:pt>
                <c:pt idx="1172">
                  <c:v>2.6541001393429978E-2</c:v>
                </c:pt>
                <c:pt idx="1173">
                  <c:v>2.8555125062505363E-2</c:v>
                </c:pt>
                <c:pt idx="1174">
                  <c:v>2.2509090055812156E-2</c:v>
                </c:pt>
                <c:pt idx="1175">
                  <c:v>2.3459695886841839E-2</c:v>
                </c:pt>
                <c:pt idx="1176">
                  <c:v>3.4383111665425639E-2</c:v>
                </c:pt>
                <c:pt idx="1177">
                  <c:v>3.4703737132862469E-2</c:v>
                </c:pt>
                <c:pt idx="1178">
                  <c:v>3.1172154033998992E-2</c:v>
                </c:pt>
                <c:pt idx="1179">
                  <c:v>2.2427578900511294E-2</c:v>
                </c:pt>
                <c:pt idx="1180">
                  <c:v>2.1088369352045291E-2</c:v>
                </c:pt>
                <c:pt idx="1181">
                  <c:v>1.8076586699832156E-2</c:v>
                </c:pt>
                <c:pt idx="1182">
                  <c:v>1.6810491024837795E-2</c:v>
                </c:pt>
                <c:pt idx="1183">
                  <c:v>1.441149408845023E-2</c:v>
                </c:pt>
                <c:pt idx="1184">
                  <c:v>1.9353181356441942E-2</c:v>
                </c:pt>
                <c:pt idx="1185">
                  <c:v>1.8735046108438139E-2</c:v>
                </c:pt>
                <c:pt idx="1186">
                  <c:v>1.9900563220561565E-2</c:v>
                </c:pt>
                <c:pt idx="1187">
                  <c:v>1.4982913596767969E-2</c:v>
                </c:pt>
                <c:pt idx="1188">
                  <c:v>5.3715814731407768E-3</c:v>
                </c:pt>
                <c:pt idx="1189">
                  <c:v>7.7943874808723695E-3</c:v>
                </c:pt>
                <c:pt idx="1190">
                  <c:v>5.496440319720089E-3</c:v>
                </c:pt>
                <c:pt idx="1191">
                  <c:v>3.867763198399557E-3</c:v>
                </c:pt>
                <c:pt idx="1192">
                  <c:v>2.6382311836938982E-3</c:v>
                </c:pt>
                <c:pt idx="1193">
                  <c:v>1.8092681906742306E-2</c:v>
                </c:pt>
                <c:pt idx="1194">
                  <c:v>2.6311743437170035E-2</c:v>
                </c:pt>
                <c:pt idx="1195">
                  <c:v>2.1315995716343808E-2</c:v>
                </c:pt>
                <c:pt idx="1196">
                  <c:v>2.6691476463857514E-2</c:v>
                </c:pt>
                <c:pt idx="1197">
                  <c:v>2.9309990837368419E-2</c:v>
                </c:pt>
                <c:pt idx="1198">
                  <c:v>3.1201880896581616E-2</c:v>
                </c:pt>
                <c:pt idx="1199">
                  <c:v>2.9202560592780494E-2</c:v>
                </c:pt>
                <c:pt idx="1200">
                  <c:v>3.3594647875643827E-2</c:v>
                </c:pt>
                <c:pt idx="1201">
                  <c:v>3.7570940327384186E-2</c:v>
                </c:pt>
                <c:pt idx="1202">
                  <c:v>3.7395084218356592E-2</c:v>
                </c:pt>
                <c:pt idx="1203">
                  <c:v>3.4925590327709269E-2</c:v>
                </c:pt>
                <c:pt idx="1204">
                  <c:v>3.0050970646703382E-2</c:v>
                </c:pt>
                <c:pt idx="1205">
                  <c:v>2.729320765923772E-2</c:v>
                </c:pt>
                <c:pt idx="1206">
                  <c:v>2.7532769681281391E-2</c:v>
                </c:pt>
                <c:pt idx="1207">
                  <c:v>2.0021120113297722E-2</c:v>
                </c:pt>
                <c:pt idx="1208">
                  <c:v>2.2165686273010646E-2</c:v>
                </c:pt>
                <c:pt idx="1209">
                  <c:v>1.4815923819622948E-2</c:v>
                </c:pt>
                <c:pt idx="1210">
                  <c:v>1.8851269543971885E-2</c:v>
                </c:pt>
                <c:pt idx="1211">
                  <c:v>3.2065857335267137E-2</c:v>
                </c:pt>
                <c:pt idx="1212">
                  <c:v>4.0152953016826767E-2</c:v>
                </c:pt>
                <c:pt idx="1213">
                  <c:v>3.7861095294659877E-2</c:v>
                </c:pt>
                <c:pt idx="1214">
                  <c:v>3.5951710071978185E-2</c:v>
                </c:pt>
                <c:pt idx="1215">
                  <c:v>2.7427653330343263E-2</c:v>
                </c:pt>
                <c:pt idx="1216">
                  <c:v>1.9540889490585203E-2</c:v>
                </c:pt>
                <c:pt idx="1217">
                  <c:v>1.8275434181354369E-2</c:v>
                </c:pt>
                <c:pt idx="1218">
                  <c:v>1.3528964146422476E-2</c:v>
                </c:pt>
                <c:pt idx="1219">
                  <c:v>8.7480405809246126E-3</c:v>
                </c:pt>
                <c:pt idx="1220">
                  <c:v>6.1096986994777641E-3</c:v>
                </c:pt>
                <c:pt idx="1221">
                  <c:v>9.1721250881287159E-3</c:v>
                </c:pt>
                <c:pt idx="1222">
                  <c:v>7.5071685905006152E-3</c:v>
                </c:pt>
                <c:pt idx="1223">
                  <c:v>2.0600370944580254E-3</c:v>
                </c:pt>
                <c:pt idx="1224">
                  <c:v>-3.3183095244505439E-3</c:v>
                </c:pt>
                <c:pt idx="1225">
                  <c:v>-5.1791578513392389E-4</c:v>
                </c:pt>
                <c:pt idx="1226">
                  <c:v>6.9884421384741741E-3</c:v>
                </c:pt>
                <c:pt idx="1227">
                  <c:v>-6.0516177129136123E-3</c:v>
                </c:pt>
                <c:pt idx="1228">
                  <c:v>-1.6569132483926205E-2</c:v>
                </c:pt>
                <c:pt idx="1229">
                  <c:v>-1.5295613441700148E-2</c:v>
                </c:pt>
                <c:pt idx="1230">
                  <c:v>-1.2644554542588046E-2</c:v>
                </c:pt>
                <c:pt idx="1231">
                  <c:v>-2.1901335823872978E-2</c:v>
                </c:pt>
                <c:pt idx="1232">
                  <c:v>-2.9357827371248577E-2</c:v>
                </c:pt>
                <c:pt idx="1233">
                  <c:v>-1.4929482814879588E-2</c:v>
                </c:pt>
                <c:pt idx="1234">
                  <c:v>-2.1694220280703988E-2</c:v>
                </c:pt>
                <c:pt idx="1235">
                  <c:v>1.8599054285832764E-2</c:v>
                </c:pt>
                <c:pt idx="1236">
                  <c:v>7.6306838519315315E-2</c:v>
                </c:pt>
                <c:pt idx="1237">
                  <c:v>3.1222376415174016E-2</c:v>
                </c:pt>
                <c:pt idx="1238">
                  <c:v>6.8614823551072415E-2</c:v>
                </c:pt>
                <c:pt idx="1239">
                  <c:v>6.9162914469114281E-2</c:v>
                </c:pt>
                <c:pt idx="1240">
                  <c:v>8.1764579250501859E-2</c:v>
                </c:pt>
                <c:pt idx="1241">
                  <c:v>7.4316287532452799E-2</c:v>
                </c:pt>
                <c:pt idx="1242">
                  <c:v>4.7892982608885873E-2</c:v>
                </c:pt>
                <c:pt idx="1243">
                  <c:v>-2.4238429724478955E-3</c:v>
                </c:pt>
                <c:pt idx="1244">
                  <c:v>4.2782200553552543E-2</c:v>
                </c:pt>
                <c:pt idx="1245">
                  <c:v>2.4602848441074868E-2</c:v>
                </c:pt>
                <c:pt idx="1246">
                  <c:v>1.8174556631121677E-2</c:v>
                </c:pt>
                <c:pt idx="1247">
                  <c:v>3.1120247974730578E-2</c:v>
                </c:pt>
                <c:pt idx="1248">
                  <c:v>9.3537462695719858E-3</c:v>
                </c:pt>
                <c:pt idx="1249">
                  <c:v>-1.0628656978380752E-3</c:v>
                </c:pt>
                <c:pt idx="1250">
                  <c:v>4.6039823992508749E-3</c:v>
                </c:pt>
                <c:pt idx="1251">
                  <c:v>-2.5639766607468792E-2</c:v>
                </c:pt>
                <c:pt idx="1252">
                  <c:v>-2.6360395254324639E-2</c:v>
                </c:pt>
                <c:pt idx="1253">
                  <c:v>-1.6750088780404945E-2</c:v>
                </c:pt>
                <c:pt idx="1254">
                  <c:v>-4.1039182961125284E-2</c:v>
                </c:pt>
                <c:pt idx="1255">
                  <c:v>-3.7064183215501076E-2</c:v>
                </c:pt>
                <c:pt idx="1256">
                  <c:v>-3.6074048914919263E-2</c:v>
                </c:pt>
                <c:pt idx="1257">
                  <c:v>-4.8904239322865459E-2</c:v>
                </c:pt>
                <c:pt idx="1258">
                  <c:v>-4.7061182633395079E-2</c:v>
                </c:pt>
                <c:pt idx="1259">
                  <c:v>-2.7965519359115384E-2</c:v>
                </c:pt>
                <c:pt idx="1260">
                  <c:v>-3.2095362232391941E-2</c:v>
                </c:pt>
                <c:pt idx="1261">
                  <c:v>-2.7950629143859804E-2</c:v>
                </c:pt>
                <c:pt idx="1262">
                  <c:v>1.9264945394889127E-3</c:v>
                </c:pt>
                <c:pt idx="1263">
                  <c:v>-1.0168920305089188E-2</c:v>
                </c:pt>
                <c:pt idx="1264">
                  <c:v>2.1909728934196432E-3</c:v>
                </c:pt>
                <c:pt idx="1265">
                  <c:v>1.6572539552812918E-2</c:v>
                </c:pt>
                <c:pt idx="1266">
                  <c:v>4.2752473802323013E-2</c:v>
                </c:pt>
                <c:pt idx="1267">
                  <c:v>8.7020311951973087E-2</c:v>
                </c:pt>
                <c:pt idx="1268">
                  <c:v>8.0946554010598762E-2</c:v>
                </c:pt>
                <c:pt idx="1269">
                  <c:v>7.2780185545843826E-2</c:v>
                </c:pt>
                <c:pt idx="1270">
                  <c:v>0.10670788909309849</c:v>
                </c:pt>
                <c:pt idx="1271">
                  <c:v>7.9292345894654073E-2</c:v>
                </c:pt>
                <c:pt idx="1272">
                  <c:v>5.3124002126770056E-2</c:v>
                </c:pt>
                <c:pt idx="1273">
                  <c:v>2.5047145100374882E-2</c:v>
                </c:pt>
                <c:pt idx="1274">
                  <c:v>1.0482287746986799E-2</c:v>
                </c:pt>
                <c:pt idx="1275">
                  <c:v>1.1095185570989111E-2</c:v>
                </c:pt>
                <c:pt idx="1276">
                  <c:v>-6.4976379302672402E-2</c:v>
                </c:pt>
                <c:pt idx="1277">
                  <c:v>-1.6363001252712603E-2</c:v>
                </c:pt>
                <c:pt idx="1278">
                  <c:v>-2.4553608225000509E-2</c:v>
                </c:pt>
                <c:pt idx="1279">
                  <c:v>8.0145684708732429E-3</c:v>
                </c:pt>
                <c:pt idx="1280">
                  <c:v>4.8824543933630685E-2</c:v>
                </c:pt>
                <c:pt idx="1281">
                  <c:v>8.1818021855456849E-2</c:v>
                </c:pt>
                <c:pt idx="1282">
                  <c:v>8.5114416501663195E-2</c:v>
                </c:pt>
                <c:pt idx="1283">
                  <c:v>7.2890375618084993E-2</c:v>
                </c:pt>
                <c:pt idx="1284">
                  <c:v>9.587765909235503E-2</c:v>
                </c:pt>
                <c:pt idx="1285">
                  <c:v>0.11045821348563968</c:v>
                </c:pt>
                <c:pt idx="1286">
                  <c:v>0.10797773186288186</c:v>
                </c:pt>
                <c:pt idx="1287">
                  <c:v>0.12601371624732205</c:v>
                </c:pt>
                <c:pt idx="1288">
                  <c:v>0.1448779459138867</c:v>
                </c:pt>
                <c:pt idx="1289">
                  <c:v>0.12389044102231729</c:v>
                </c:pt>
                <c:pt idx="1290">
                  <c:v>0.12657786490052869</c:v>
                </c:pt>
                <c:pt idx="1291">
                  <c:v>0.13720060340320317</c:v>
                </c:pt>
                <c:pt idx="1292">
                  <c:v>0.14589000789748963</c:v>
                </c:pt>
                <c:pt idx="1293">
                  <c:v>0.13819253796589159</c:v>
                </c:pt>
                <c:pt idx="1294">
                  <c:v>0.12923368606754981</c:v>
                </c:pt>
                <c:pt idx="1295">
                  <c:v>0.1346353293078254</c:v>
                </c:pt>
                <c:pt idx="1296">
                  <c:v>0.16484510844815004</c:v>
                </c:pt>
                <c:pt idx="1297">
                  <c:v>0.14403175297931059</c:v>
                </c:pt>
                <c:pt idx="1298">
                  <c:v>0.16370708069801654</c:v>
                </c:pt>
                <c:pt idx="1299">
                  <c:v>0.15079579317293912</c:v>
                </c:pt>
                <c:pt idx="1300">
                  <c:v>8.5110012948405159E-2</c:v>
                </c:pt>
                <c:pt idx="1301">
                  <c:v>7.7805558795481025E-2</c:v>
                </c:pt>
                <c:pt idx="1302">
                  <c:v>0.10956808236415118</c:v>
                </c:pt>
                <c:pt idx="1303">
                  <c:v>6.9943721209551737E-2</c:v>
                </c:pt>
                <c:pt idx="1304">
                  <c:v>7.0028715583139736E-2</c:v>
                </c:pt>
                <c:pt idx="1305">
                  <c:v>-2.1300645248889513E-2</c:v>
                </c:pt>
                <c:pt idx="1306">
                  <c:v>-1.8390825395662155E-2</c:v>
                </c:pt>
                <c:pt idx="1307">
                  <c:v>-2.1044156991587668E-2</c:v>
                </c:pt>
                <c:pt idx="1308">
                  <c:v>-2.4804100453986719E-2</c:v>
                </c:pt>
                <c:pt idx="1309">
                  <c:v>-2.9035053528232199E-2</c:v>
                </c:pt>
                <c:pt idx="1310">
                  <c:v>-1.5702088869680483E-2</c:v>
                </c:pt>
                <c:pt idx="1311">
                  <c:v>-1.9670178279343906E-2</c:v>
                </c:pt>
                <c:pt idx="1312">
                  <c:v>-3.6057584162107886E-3</c:v>
                </c:pt>
                <c:pt idx="1313">
                  <c:v>4.676781452062212E-4</c:v>
                </c:pt>
                <c:pt idx="1314">
                  <c:v>2.1640212923134255E-3</c:v>
                </c:pt>
                <c:pt idx="1315">
                  <c:v>1.2608513966490778E-2</c:v>
                </c:pt>
                <c:pt idx="1316">
                  <c:v>1.4159508908251697E-2</c:v>
                </c:pt>
                <c:pt idx="1317">
                  <c:v>2.051004800076052E-2</c:v>
                </c:pt>
                <c:pt idx="1318">
                  <c:v>1.8278724534180016E-2</c:v>
                </c:pt>
                <c:pt idx="1319">
                  <c:v>2.3470125696663971E-2</c:v>
                </c:pt>
                <c:pt idx="1320">
                  <c:v>2.2384359704546788E-2</c:v>
                </c:pt>
                <c:pt idx="1321">
                  <c:v>1.9970736167382111E-2</c:v>
                </c:pt>
                <c:pt idx="1322">
                  <c:v>2.1784307697777075E-2</c:v>
                </c:pt>
                <c:pt idx="1323">
                  <c:v>1.9397036342511456E-2</c:v>
                </c:pt>
                <c:pt idx="1324">
                  <c:v>2.2827992651307319E-2</c:v>
                </c:pt>
                <c:pt idx="1325">
                  <c:v>3.1464132183932639E-2</c:v>
                </c:pt>
                <c:pt idx="1326">
                  <c:v>3.0742507255100762E-2</c:v>
                </c:pt>
                <c:pt idx="1327">
                  <c:v>3.2217139395131281E-2</c:v>
                </c:pt>
                <c:pt idx="1328">
                  <c:v>4.0987730273401204E-2</c:v>
                </c:pt>
                <c:pt idx="1329">
                  <c:v>3.2319520737723276E-2</c:v>
                </c:pt>
                <c:pt idx="1330">
                  <c:v>3.4338312171479549E-2</c:v>
                </c:pt>
                <c:pt idx="1331">
                  <c:v>2.8848824511548368E-2</c:v>
                </c:pt>
                <c:pt idx="1332">
                  <c:v>2.6947689356181762E-2</c:v>
                </c:pt>
                <c:pt idx="1333">
                  <c:v>2.5288549028788535E-2</c:v>
                </c:pt>
                <c:pt idx="1334">
                  <c:v>2.4442287510505492E-2</c:v>
                </c:pt>
                <c:pt idx="1335">
                  <c:v>1.861335811824584E-2</c:v>
                </c:pt>
                <c:pt idx="1336">
                  <c:v>1.613116203845523E-2</c:v>
                </c:pt>
                <c:pt idx="1337">
                  <c:v>1.6730113328848453E-2</c:v>
                </c:pt>
                <c:pt idx="1338">
                  <c:v>1.5730978319245983E-2</c:v>
                </c:pt>
                <c:pt idx="1339">
                  <c:v>2.5635425134979198E-2</c:v>
                </c:pt>
                <c:pt idx="1340">
                  <c:v>1.9786661458485191E-2</c:v>
                </c:pt>
                <c:pt idx="1341">
                  <c:v>2.0926735464072768E-2</c:v>
                </c:pt>
                <c:pt idx="1342">
                  <c:v>1.5687783111516099E-2</c:v>
                </c:pt>
                <c:pt idx="1343">
                  <c:v>2.1586055560474784E-2</c:v>
                </c:pt>
                <c:pt idx="1344">
                  <c:v>2.7615599949568539E-2</c:v>
                </c:pt>
                <c:pt idx="1345">
                  <c:v>1.7784796994269395E-2</c:v>
                </c:pt>
                <c:pt idx="1346">
                  <c:v>1.5672051866400208E-2</c:v>
                </c:pt>
                <c:pt idx="1347">
                  <c:v>8.004991838015299E-3</c:v>
                </c:pt>
                <c:pt idx="1348">
                  <c:v>6.8956901459284042E-3</c:v>
                </c:pt>
                <c:pt idx="1349">
                  <c:v>3.8540893058870568E-3</c:v>
                </c:pt>
                <c:pt idx="1350">
                  <c:v>6.5362115057246012E-3</c:v>
                </c:pt>
                <c:pt idx="1351">
                  <c:v>7.3066090880359591E-4</c:v>
                </c:pt>
                <c:pt idx="1352">
                  <c:v>7.4893849657009653E-3</c:v>
                </c:pt>
                <c:pt idx="1353">
                  <c:v>7.7088719147167112E-3</c:v>
                </c:pt>
                <c:pt idx="1354">
                  <c:v>1.002880185746903E-2</c:v>
                </c:pt>
                <c:pt idx="1355">
                  <c:v>3.5925069471054588E-3</c:v>
                </c:pt>
                <c:pt idx="1356">
                  <c:v>-1.5743643411285507E-3</c:v>
                </c:pt>
                <c:pt idx="1357">
                  <c:v>-5.183672380096635E-3</c:v>
                </c:pt>
                <c:pt idx="1358">
                  <c:v>-4.7300797397367006E-3</c:v>
                </c:pt>
                <c:pt idx="1359">
                  <c:v>-3.2004659566789856E-3</c:v>
                </c:pt>
                <c:pt idx="1360">
                  <c:v>-1.3634213010695659E-2</c:v>
                </c:pt>
                <c:pt idx="1361">
                  <c:v>-5.4792056303438613E-3</c:v>
                </c:pt>
                <c:pt idx="1362">
                  <c:v>3.4050471399961479E-4</c:v>
                </c:pt>
                <c:pt idx="1363">
                  <c:v>3.9625266490468519E-3</c:v>
                </c:pt>
                <c:pt idx="1364">
                  <c:v>1.0329323162900375E-2</c:v>
                </c:pt>
                <c:pt idx="1365">
                  <c:v>1.9687650091594913E-2</c:v>
                </c:pt>
                <c:pt idx="1366">
                  <c:v>1.6899459130733888E-2</c:v>
                </c:pt>
                <c:pt idx="1367">
                  <c:v>2.8673850087089919E-3</c:v>
                </c:pt>
                <c:pt idx="1368">
                  <c:v>1.5719430005603843E-2</c:v>
                </c:pt>
                <c:pt idx="1369">
                  <c:v>8.0653183323525918E-3</c:v>
                </c:pt>
                <c:pt idx="1370">
                  <c:v>1.4318199095699993E-2</c:v>
                </c:pt>
                <c:pt idx="1371">
                  <c:v>6.9093399676938422E-3</c:v>
                </c:pt>
                <c:pt idx="1372">
                  <c:v>6.3755306759825242E-3</c:v>
                </c:pt>
                <c:pt idx="1373">
                  <c:v>1.4284457777094112E-3</c:v>
                </c:pt>
                <c:pt idx="1374">
                  <c:v>4.9660356135570322E-3</c:v>
                </c:pt>
                <c:pt idx="1375">
                  <c:v>1.4888663559461293E-2</c:v>
                </c:pt>
                <c:pt idx="1376">
                  <c:v>1.7612305830625244E-2</c:v>
                </c:pt>
                <c:pt idx="1377">
                  <c:v>2.0902067726373499E-2</c:v>
                </c:pt>
                <c:pt idx="1378">
                  <c:v>2.4123501671482264E-2</c:v>
                </c:pt>
                <c:pt idx="1379">
                  <c:v>2.7198784458023387E-2</c:v>
                </c:pt>
                <c:pt idx="1380">
                  <c:v>2.3158602351946014E-2</c:v>
                </c:pt>
                <c:pt idx="1381">
                  <c:v>2.4549099620572293E-2</c:v>
                </c:pt>
                <c:pt idx="1382">
                  <c:v>2.1588901994784374E-2</c:v>
                </c:pt>
                <c:pt idx="1383">
                  <c:v>1.9274345274250773E-2</c:v>
                </c:pt>
                <c:pt idx="1384">
                  <c:v>6.0481024006220491E-3</c:v>
                </c:pt>
                <c:pt idx="1385">
                  <c:v>9.4941851234317115E-3</c:v>
                </c:pt>
                <c:pt idx="1386">
                  <c:v>1.6002120876837514E-2</c:v>
                </c:pt>
                <c:pt idx="1387">
                  <c:v>1.5302272285494536E-2</c:v>
                </c:pt>
                <c:pt idx="1388">
                  <c:v>1.7223311260015764E-2</c:v>
                </c:pt>
                <c:pt idx="1389">
                  <c:v>2.4291446201712766E-2</c:v>
                </c:pt>
                <c:pt idx="1390">
                  <c:v>3.7370126508421989E-2</c:v>
                </c:pt>
                <c:pt idx="1391">
                  <c:v>2.7208993806951867E-2</c:v>
                </c:pt>
                <c:pt idx="1392">
                  <c:v>1.8321707612732566E-2</c:v>
                </c:pt>
                <c:pt idx="1393">
                  <c:v>1.5957593431179432E-2</c:v>
                </c:pt>
                <c:pt idx="1394">
                  <c:v>1.3142034167513153E-2</c:v>
                </c:pt>
                <c:pt idx="1395">
                  <c:v>5.0645036787856507E-3</c:v>
                </c:pt>
                <c:pt idx="1396">
                  <c:v>2.0893582133065941E-3</c:v>
                </c:pt>
                <c:pt idx="1397">
                  <c:v>9.9988747651909154E-3</c:v>
                </c:pt>
                <c:pt idx="1398">
                  <c:v>5.1625362093690313E-3</c:v>
                </c:pt>
                <c:pt idx="1399">
                  <c:v>1.0740851604182047E-2</c:v>
                </c:pt>
                <c:pt idx="1400">
                  <c:v>-2.5784481088742955E-3</c:v>
                </c:pt>
                <c:pt idx="1401">
                  <c:v>-4.1589961770115286E-3</c:v>
                </c:pt>
                <c:pt idx="1402">
                  <c:v>-1.0985470296194094E-3</c:v>
                </c:pt>
                <c:pt idx="1403">
                  <c:v>-1.1647470821982558E-3</c:v>
                </c:pt>
                <c:pt idx="1404">
                  <c:v>-6.2330692169826202E-3</c:v>
                </c:pt>
                <c:pt idx="1405">
                  <c:v>-1.2358658536667386E-2</c:v>
                </c:pt>
                <c:pt idx="1406">
                  <c:v>-2.6412214487173E-2</c:v>
                </c:pt>
                <c:pt idx="1407">
                  <c:v>-2.6686766684310678E-2</c:v>
                </c:pt>
                <c:pt idx="1408">
                  <c:v>-2.4321719973304887E-2</c:v>
                </c:pt>
                <c:pt idx="1409">
                  <c:v>-3.894464205751845E-2</c:v>
                </c:pt>
                <c:pt idx="1410">
                  <c:v>-3.9995712942798675E-2</c:v>
                </c:pt>
                <c:pt idx="1411">
                  <c:v>-5.5806632793805919E-2</c:v>
                </c:pt>
                <c:pt idx="1412">
                  <c:v>-5.8333823713584518E-2</c:v>
                </c:pt>
                <c:pt idx="1413">
                  <c:v>-6.4605775191603584E-2</c:v>
                </c:pt>
                <c:pt idx="1414">
                  <c:v>-5.5828906858022873E-2</c:v>
                </c:pt>
                <c:pt idx="1415">
                  <c:v>-5.3991618531746374E-2</c:v>
                </c:pt>
                <c:pt idx="1416">
                  <c:v>-5.6939211294301781E-2</c:v>
                </c:pt>
                <c:pt idx="1417">
                  <c:v>-5.7372620421662232E-2</c:v>
                </c:pt>
                <c:pt idx="1418">
                  <c:v>-5.2627831758458296E-2</c:v>
                </c:pt>
                <c:pt idx="1419">
                  <c:v>-4.6776648481503744E-2</c:v>
                </c:pt>
                <c:pt idx="1420">
                  <c:v>-5.0002304334874501E-2</c:v>
                </c:pt>
                <c:pt idx="1421">
                  <c:v>-4.3880597714473821E-2</c:v>
                </c:pt>
                <c:pt idx="1422">
                  <c:v>-3.2350798838267067E-2</c:v>
                </c:pt>
                <c:pt idx="1423">
                  <c:v>-3.1007262819055623E-2</c:v>
                </c:pt>
                <c:pt idx="1424">
                  <c:v>-2.412486052773942E-2</c:v>
                </c:pt>
                <c:pt idx="1425">
                  <c:v>-5.7554523705859312E-3</c:v>
                </c:pt>
                <c:pt idx="1426">
                  <c:v>-1.2150583718867555E-2</c:v>
                </c:pt>
                <c:pt idx="1427">
                  <c:v>-9.815375557117853E-3</c:v>
                </c:pt>
                <c:pt idx="1428">
                  <c:v>-6.8833881282383963E-3</c:v>
                </c:pt>
                <c:pt idx="1429">
                  <c:v>-3.9542190798076277E-3</c:v>
                </c:pt>
                <c:pt idx="1430">
                  <c:v>1.1255600934807722E-2</c:v>
                </c:pt>
                <c:pt idx="1431">
                  <c:v>1.6804017456623646E-2</c:v>
                </c:pt>
                <c:pt idx="1432">
                  <c:v>1.4646444079799661E-2</c:v>
                </c:pt>
                <c:pt idx="1433">
                  <c:v>1.3322068608961693E-2</c:v>
                </c:pt>
                <c:pt idx="1434">
                  <c:v>1.9140020751520007E-2</c:v>
                </c:pt>
                <c:pt idx="1435">
                  <c:v>1.3092320969154705E-2</c:v>
                </c:pt>
                <c:pt idx="1436">
                  <c:v>1.5161200504589259E-2</c:v>
                </c:pt>
                <c:pt idx="1437">
                  <c:v>1.0356053588368677E-2</c:v>
                </c:pt>
                <c:pt idx="1438">
                  <c:v>7.5965713635361004E-3</c:v>
                </c:pt>
                <c:pt idx="1439">
                  <c:v>1.2493029252097068E-2</c:v>
                </c:pt>
                <c:pt idx="1440">
                  <c:v>1.6638367934527012E-2</c:v>
                </c:pt>
                <c:pt idx="1441">
                  <c:v>1.839213328550339E-2</c:v>
                </c:pt>
                <c:pt idx="1442">
                  <c:v>1.5704750142259263E-2</c:v>
                </c:pt>
                <c:pt idx="1443">
                  <c:v>1.8915595329146231E-2</c:v>
                </c:pt>
                <c:pt idx="1444">
                  <c:v>2.1339584245895896E-2</c:v>
                </c:pt>
                <c:pt idx="1445">
                  <c:v>2.0025738139991103E-2</c:v>
                </c:pt>
                <c:pt idx="1446">
                  <c:v>2.439721597550927E-2</c:v>
                </c:pt>
                <c:pt idx="1447">
                  <c:v>2.4469547986212384E-2</c:v>
                </c:pt>
                <c:pt idx="1448">
                  <c:v>1.9494074809762854E-2</c:v>
                </c:pt>
                <c:pt idx="1449">
                  <c:v>1.7034819475442067E-2</c:v>
                </c:pt>
                <c:pt idx="1450">
                  <c:v>1.7622278546907247E-2</c:v>
                </c:pt>
                <c:pt idx="1451">
                  <c:v>1.6656927993134354E-2</c:v>
                </c:pt>
                <c:pt idx="1452">
                  <c:v>1.6501185944539989E-2</c:v>
                </c:pt>
                <c:pt idx="1453">
                  <c:v>1.6553823266607051E-2</c:v>
                </c:pt>
                <c:pt idx="1454">
                  <c:v>-3.4566456892822645E-3</c:v>
                </c:pt>
                <c:pt idx="1455">
                  <c:v>-1.5636276028405657E-2</c:v>
                </c:pt>
                <c:pt idx="1456">
                  <c:v>-5.7774739012622506E-3</c:v>
                </c:pt>
                <c:pt idx="1457">
                  <c:v>-2.1241484861286158E-3</c:v>
                </c:pt>
                <c:pt idx="1458">
                  <c:v>-5.3119864490933505E-3</c:v>
                </c:pt>
                <c:pt idx="1459">
                  <c:v>-5.8731825224306172E-3</c:v>
                </c:pt>
                <c:pt idx="1460">
                  <c:v>-1.786056037732929E-2</c:v>
                </c:pt>
                <c:pt idx="1461">
                  <c:v>-1.3046939920585462E-2</c:v>
                </c:pt>
                <c:pt idx="1462">
                  <c:v>-1.2822027219169127E-2</c:v>
                </c:pt>
                <c:pt idx="1463">
                  <c:v>-1.630114425531802E-2</c:v>
                </c:pt>
                <c:pt idx="1464">
                  <c:v>-1.1059593456671277E-2</c:v>
                </c:pt>
                <c:pt idx="1465">
                  <c:v>-6.3844210384231687E-3</c:v>
                </c:pt>
                <c:pt idx="1466">
                  <c:v>-6.9115796080245623E-3</c:v>
                </c:pt>
                <c:pt idx="1467">
                  <c:v>1.4631843838498609E-3</c:v>
                </c:pt>
                <c:pt idx="1468">
                  <c:v>2.3114480017678712E-3</c:v>
                </c:pt>
                <c:pt idx="1469">
                  <c:v>2.3257490042083578E-3</c:v>
                </c:pt>
                <c:pt idx="1470">
                  <c:v>2.5185097483023805E-3</c:v>
                </c:pt>
                <c:pt idx="1471">
                  <c:v>6.8747739892448673E-3</c:v>
                </c:pt>
                <c:pt idx="1472">
                  <c:v>6.763112985189626E-3</c:v>
                </c:pt>
                <c:pt idx="1473">
                  <c:v>1.1731895877134982E-2</c:v>
                </c:pt>
                <c:pt idx="1474">
                  <c:v>3.7070762958316822E-3</c:v>
                </c:pt>
                <c:pt idx="1475">
                  <c:v>9.4718931431440195E-3</c:v>
                </c:pt>
                <c:pt idx="1476">
                  <c:v>9.8139236556407244E-3</c:v>
                </c:pt>
                <c:pt idx="1477">
                  <c:v>3.7297649885972423E-3</c:v>
                </c:pt>
                <c:pt idx="1478">
                  <c:v>7.8196986545080588E-3</c:v>
                </c:pt>
                <c:pt idx="1479">
                  <c:v>-2.1238819293525196E-3</c:v>
                </c:pt>
                <c:pt idx="1480">
                  <c:v>-7.9569833492248859E-3</c:v>
                </c:pt>
                <c:pt idx="1481">
                  <c:v>-8.8932124905870269E-4</c:v>
                </c:pt>
                <c:pt idx="1482">
                  <c:v>-1.0542155113437798E-2</c:v>
                </c:pt>
                <c:pt idx="1483">
                  <c:v>-1.3494617421579522E-2</c:v>
                </c:pt>
                <c:pt idx="1484">
                  <c:v>-1.7721578213899386E-3</c:v>
                </c:pt>
                <c:pt idx="1485">
                  <c:v>6.037876317757665E-3</c:v>
                </c:pt>
                <c:pt idx="1486">
                  <c:v>1.8699182601406142E-2</c:v>
                </c:pt>
                <c:pt idx="1487">
                  <c:v>1.5612028055165941E-2</c:v>
                </c:pt>
                <c:pt idx="1488">
                  <c:v>1.7612320150963159E-2</c:v>
                </c:pt>
                <c:pt idx="1489">
                  <c:v>1.6244432570727066E-2</c:v>
                </c:pt>
                <c:pt idx="1490">
                  <c:v>1.5457818036050078E-2</c:v>
                </c:pt>
                <c:pt idx="1491">
                  <c:v>8.3230813423368494E-3</c:v>
                </c:pt>
                <c:pt idx="1492">
                  <c:v>1.483076435258926E-3</c:v>
                </c:pt>
                <c:pt idx="1493">
                  <c:v>-4.7742296229246056E-3</c:v>
                </c:pt>
                <c:pt idx="1494">
                  <c:v>-6.1733277334769937E-3</c:v>
                </c:pt>
                <c:pt idx="1495">
                  <c:v>-5.9841799868019935E-3</c:v>
                </c:pt>
                <c:pt idx="1496">
                  <c:v>-5.0713029065829612E-3</c:v>
                </c:pt>
                <c:pt idx="1497">
                  <c:v>-1.9054004508789329E-3</c:v>
                </c:pt>
                <c:pt idx="1498">
                  <c:v>-2.3027436373702498E-3</c:v>
                </c:pt>
                <c:pt idx="1499">
                  <c:v>3.9802081883745372E-3</c:v>
                </c:pt>
                <c:pt idx="1500">
                  <c:v>-6.5145525087548645E-3</c:v>
                </c:pt>
                <c:pt idx="1501">
                  <c:v>4.8655966536607226E-3</c:v>
                </c:pt>
                <c:pt idx="1502">
                  <c:v>3.0912002484933115E-3</c:v>
                </c:pt>
                <c:pt idx="1503">
                  <c:v>-1.0488361553120704E-2</c:v>
                </c:pt>
                <c:pt idx="1504">
                  <c:v>-2.0262556653568436E-3</c:v>
                </c:pt>
                <c:pt idx="1505">
                  <c:v>-7.0055385268615739E-3</c:v>
                </c:pt>
                <c:pt idx="1506">
                  <c:v>-2.4108459412246347E-3</c:v>
                </c:pt>
                <c:pt idx="1507">
                  <c:v>1.4565710415742408E-2</c:v>
                </c:pt>
                <c:pt idx="1508">
                  <c:v>1.5171780586950803E-2</c:v>
                </c:pt>
                <c:pt idx="1509">
                  <c:v>9.8879048969145039E-3</c:v>
                </c:pt>
                <c:pt idx="1510">
                  <c:v>7.1792938136775591E-3</c:v>
                </c:pt>
                <c:pt idx="1511">
                  <c:v>1.3230330685510952E-2</c:v>
                </c:pt>
                <c:pt idx="1512">
                  <c:v>1.4755917149208667E-2</c:v>
                </c:pt>
                <c:pt idx="1513">
                  <c:v>7.6769333606736684E-3</c:v>
                </c:pt>
                <c:pt idx="1514">
                  <c:v>1.4048748202678554E-2</c:v>
                </c:pt>
                <c:pt idx="1515">
                  <c:v>1.0170587880476215E-2</c:v>
                </c:pt>
                <c:pt idx="1516">
                  <c:v>-7.2839017957281038E-4</c:v>
                </c:pt>
                <c:pt idx="1517">
                  <c:v>2.9256337533256765E-3</c:v>
                </c:pt>
                <c:pt idx="1518">
                  <c:v>1.1726565229527211E-2</c:v>
                </c:pt>
                <c:pt idx="1519">
                  <c:v>1.4417137829982343E-2</c:v>
                </c:pt>
                <c:pt idx="1520">
                  <c:v>3.9297036526350221E-3</c:v>
                </c:pt>
                <c:pt idx="1521">
                  <c:v>1.0397441267483223E-2</c:v>
                </c:pt>
                <c:pt idx="1522">
                  <c:v>5.4464792788964239E-3</c:v>
                </c:pt>
                <c:pt idx="1523">
                  <c:v>1.0642630816638979E-2</c:v>
                </c:pt>
                <c:pt idx="1524">
                  <c:v>5.7401377256414282E-3</c:v>
                </c:pt>
                <c:pt idx="1525">
                  <c:v>9.5302189536865672E-3</c:v>
                </c:pt>
                <c:pt idx="1526">
                  <c:v>7.063286902798685E-3</c:v>
                </c:pt>
                <c:pt idx="1527">
                  <c:v>6.2766596352242937E-3</c:v>
                </c:pt>
                <c:pt idx="1528">
                  <c:v>1.3526372537834522E-2</c:v>
                </c:pt>
                <c:pt idx="1529">
                  <c:v>1.7686005699566604E-3</c:v>
                </c:pt>
                <c:pt idx="1530">
                  <c:v>1.0640595878430706E-2</c:v>
                </c:pt>
                <c:pt idx="1531">
                  <c:v>4.1269725943531427E-3</c:v>
                </c:pt>
                <c:pt idx="1532">
                  <c:v>1.279770252900804E-2</c:v>
                </c:pt>
                <c:pt idx="1533">
                  <c:v>1.0028868683665385E-2</c:v>
                </c:pt>
                <c:pt idx="1534">
                  <c:v>9.0210876439486137E-3</c:v>
                </c:pt>
                <c:pt idx="1535">
                  <c:v>9.6034992560468796E-3</c:v>
                </c:pt>
                <c:pt idx="1536">
                  <c:v>6.3239162041782843E-3</c:v>
                </c:pt>
                <c:pt idx="1537">
                  <c:v>7.6319606734091133E-3</c:v>
                </c:pt>
                <c:pt idx="1538">
                  <c:v>1.1590081479638373E-2</c:v>
                </c:pt>
                <c:pt idx="1539">
                  <c:v>1.1034685389196289E-2</c:v>
                </c:pt>
                <c:pt idx="1540">
                  <c:v>1.1494990877378389E-2</c:v>
                </c:pt>
                <c:pt idx="1541">
                  <c:v>1.1840908127147234E-2</c:v>
                </c:pt>
                <c:pt idx="1542">
                  <c:v>7.7986278101274259E-3</c:v>
                </c:pt>
                <c:pt idx="1543">
                  <c:v>8.6593762239067923E-3</c:v>
                </c:pt>
                <c:pt idx="1544">
                  <c:v>-1.318013389989367E-3</c:v>
                </c:pt>
                <c:pt idx="1545">
                  <c:v>1.2089531190817709E-3</c:v>
                </c:pt>
                <c:pt idx="1546">
                  <c:v>-9.3978946843836647E-3</c:v>
                </c:pt>
                <c:pt idx="1547">
                  <c:v>-1.4521381453502111E-2</c:v>
                </c:pt>
                <c:pt idx="1548">
                  <c:v>-1.5584714980769396E-2</c:v>
                </c:pt>
                <c:pt idx="1549">
                  <c:v>-2.5681407361543548E-2</c:v>
                </c:pt>
                <c:pt idx="1550">
                  <c:v>-2.0514689794056781E-2</c:v>
                </c:pt>
                <c:pt idx="1551">
                  <c:v>-1.8524110496103793E-2</c:v>
                </c:pt>
                <c:pt idx="1552">
                  <c:v>-1.0073873511467032E-2</c:v>
                </c:pt>
                <c:pt idx="1553">
                  <c:v>-8.9903005362329397E-3</c:v>
                </c:pt>
                <c:pt idx="1554">
                  <c:v>-1.1993977218252114E-2</c:v>
                </c:pt>
                <c:pt idx="1555">
                  <c:v>-1.1847542146724552E-2</c:v>
                </c:pt>
                <c:pt idx="1556">
                  <c:v>-7.5445893805456826E-3</c:v>
                </c:pt>
                <c:pt idx="1557">
                  <c:v>-2.1989006474205514E-3</c:v>
                </c:pt>
                <c:pt idx="1558">
                  <c:v>-2.4036144283141464E-3</c:v>
                </c:pt>
                <c:pt idx="1559">
                  <c:v>-2.6437738624426194E-3</c:v>
                </c:pt>
                <c:pt idx="1560">
                  <c:v>-2.9948477453868166E-3</c:v>
                </c:pt>
                <c:pt idx="1561">
                  <c:v>1.1183936249539964E-2</c:v>
                </c:pt>
                <c:pt idx="1562">
                  <c:v>2.11508734727818E-3</c:v>
                </c:pt>
                <c:pt idx="1563">
                  <c:v>2.3244297970747133E-2</c:v>
                </c:pt>
                <c:pt idx="1564">
                  <c:v>2.3557814772482769E-2</c:v>
                </c:pt>
                <c:pt idx="1565">
                  <c:v>1.9266353882031254E-2</c:v>
                </c:pt>
                <c:pt idx="1566">
                  <c:v>9.3527822343470041E-3</c:v>
                </c:pt>
                <c:pt idx="1567">
                  <c:v>8.1311138114562725E-3</c:v>
                </c:pt>
                <c:pt idx="1568">
                  <c:v>6.1752904469095787E-3</c:v>
                </c:pt>
                <c:pt idx="1569">
                  <c:v>3.9079551531590179E-3</c:v>
                </c:pt>
                <c:pt idx="1570">
                  <c:v>4.0525587662646606E-3</c:v>
                </c:pt>
                <c:pt idx="1571">
                  <c:v>1.2466910511065313E-2</c:v>
                </c:pt>
                <c:pt idx="1572">
                  <c:v>1.1379106047937362E-2</c:v>
                </c:pt>
                <c:pt idx="1573">
                  <c:v>1.2130108747644433E-2</c:v>
                </c:pt>
                <c:pt idx="1574">
                  <c:v>6.0203732901789181E-3</c:v>
                </c:pt>
                <c:pt idx="1575">
                  <c:v>5.2779048645630461E-3</c:v>
                </c:pt>
                <c:pt idx="1576">
                  <c:v>8.3413535797060151E-3</c:v>
                </c:pt>
                <c:pt idx="1577">
                  <c:v>8.4756125728635695E-3</c:v>
                </c:pt>
                <c:pt idx="1578">
                  <c:v>9.5963533039987864E-3</c:v>
                </c:pt>
                <c:pt idx="1579">
                  <c:v>1.2836229019840176E-2</c:v>
                </c:pt>
                <c:pt idx="1580">
                  <c:v>5.1081639447249222E-3</c:v>
                </c:pt>
                <c:pt idx="1581">
                  <c:v>2.7517325162001033E-3</c:v>
                </c:pt>
                <c:pt idx="1582">
                  <c:v>5.6197676704631411E-3</c:v>
                </c:pt>
                <c:pt idx="1583">
                  <c:v>9.3962788110513312E-3</c:v>
                </c:pt>
                <c:pt idx="1584">
                  <c:v>7.8923380585319697E-3</c:v>
                </c:pt>
                <c:pt idx="1585">
                  <c:v>9.7324653614710016E-3</c:v>
                </c:pt>
                <c:pt idx="1586">
                  <c:v>1.0335985534629569E-2</c:v>
                </c:pt>
                <c:pt idx="1587">
                  <c:v>1.0063350604863311E-2</c:v>
                </c:pt>
                <c:pt idx="1588">
                  <c:v>7.6553136105892566E-3</c:v>
                </c:pt>
                <c:pt idx="1589">
                  <c:v>1.492649023331051E-2</c:v>
                </c:pt>
                <c:pt idx="1590">
                  <c:v>7.2940916965871377E-3</c:v>
                </c:pt>
                <c:pt idx="1591">
                  <c:v>6.3782205001640252E-3</c:v>
                </c:pt>
                <c:pt idx="1592">
                  <c:v>4.7523699426918059E-3</c:v>
                </c:pt>
                <c:pt idx="1593">
                  <c:v>8.2613678198111412E-3</c:v>
                </c:pt>
                <c:pt idx="1594">
                  <c:v>4.2956912840316358E-3</c:v>
                </c:pt>
                <c:pt idx="1595">
                  <c:v>1.2574121931687401E-2</c:v>
                </c:pt>
                <c:pt idx="1596">
                  <c:v>1.6127502137948016E-2</c:v>
                </c:pt>
                <c:pt idx="1597">
                  <c:v>1.1488579822607661E-2</c:v>
                </c:pt>
                <c:pt idx="1598">
                  <c:v>9.4659403600573511E-4</c:v>
                </c:pt>
                <c:pt idx="1599">
                  <c:v>3.1147919360670212E-3</c:v>
                </c:pt>
                <c:pt idx="1600">
                  <c:v>7.5975593505440836E-3</c:v>
                </c:pt>
                <c:pt idx="1601">
                  <c:v>2.3536409887010695E-3</c:v>
                </c:pt>
                <c:pt idx="1602">
                  <c:v>7.3872393128252695E-3</c:v>
                </c:pt>
                <c:pt idx="1603">
                  <c:v>1.3389063382904479E-2</c:v>
                </c:pt>
                <c:pt idx="1604">
                  <c:v>8.4669326260834593E-3</c:v>
                </c:pt>
                <c:pt idx="1605">
                  <c:v>3.4522026737771189E-3</c:v>
                </c:pt>
                <c:pt idx="1606">
                  <c:v>-2.992340524610268E-3</c:v>
                </c:pt>
                <c:pt idx="1607">
                  <c:v>8.6501941202669214E-3</c:v>
                </c:pt>
                <c:pt idx="1608">
                  <c:v>3.8567497471691109E-3</c:v>
                </c:pt>
                <c:pt idx="1609">
                  <c:v>4.0794314659822334E-3</c:v>
                </c:pt>
                <c:pt idx="1610">
                  <c:v>5.4574022691045304E-3</c:v>
                </c:pt>
                <c:pt idx="1611">
                  <c:v>4.6525764458133084E-3</c:v>
                </c:pt>
                <c:pt idx="1612">
                  <c:v>8.2362790008524561E-3</c:v>
                </c:pt>
                <c:pt idx="1613">
                  <c:v>8.5159730153806651E-3</c:v>
                </c:pt>
                <c:pt idx="1614">
                  <c:v>1.2258251678193735E-2</c:v>
                </c:pt>
                <c:pt idx="1615">
                  <c:v>8.2328712538883991E-3</c:v>
                </c:pt>
                <c:pt idx="1616">
                  <c:v>1.0390566487238698E-2</c:v>
                </c:pt>
                <c:pt idx="1617">
                  <c:v>8.628581760914758E-3</c:v>
                </c:pt>
                <c:pt idx="1618">
                  <c:v>8.2672820677740649E-3</c:v>
                </c:pt>
                <c:pt idx="1619">
                  <c:v>7.1633070045159647E-3</c:v>
                </c:pt>
                <c:pt idx="1620">
                  <c:v>1.3649371820506198E-2</c:v>
                </c:pt>
                <c:pt idx="1621">
                  <c:v>1.1861133332067078E-2</c:v>
                </c:pt>
                <c:pt idx="1622">
                  <c:v>1.4664155138228621E-2</c:v>
                </c:pt>
                <c:pt idx="1623">
                  <c:v>-4.581697616584432E-3</c:v>
                </c:pt>
                <c:pt idx="1624">
                  <c:v>-5.5948398171600106E-3</c:v>
                </c:pt>
                <c:pt idx="1625">
                  <c:v>-1.870059359318485E-3</c:v>
                </c:pt>
                <c:pt idx="1626">
                  <c:v>-1.7922874830467048E-2</c:v>
                </c:pt>
                <c:pt idx="1627">
                  <c:v>-1.4487138875644887E-2</c:v>
                </c:pt>
                <c:pt idx="1628">
                  <c:v>-1.0412317644575272E-2</c:v>
                </c:pt>
                <c:pt idx="1629">
                  <c:v>-8.4643989451399365E-3</c:v>
                </c:pt>
                <c:pt idx="1630">
                  <c:v>-9.2580230491935284E-3</c:v>
                </c:pt>
                <c:pt idx="1631">
                  <c:v>-6.3996365446374742E-3</c:v>
                </c:pt>
                <c:pt idx="1632">
                  <c:v>-8.601940415340667E-3</c:v>
                </c:pt>
                <c:pt idx="1633">
                  <c:v>-1.0982320663656328E-2</c:v>
                </c:pt>
                <c:pt idx="1634">
                  <c:v>-1.1588859180088326E-2</c:v>
                </c:pt>
                <c:pt idx="1635">
                  <c:v>6.2333073905032621E-5</c:v>
                </c:pt>
                <c:pt idx="1636">
                  <c:v>-9.7755293516597896E-4</c:v>
                </c:pt>
                <c:pt idx="1637">
                  <c:v>-1.3007257664308935E-4</c:v>
                </c:pt>
                <c:pt idx="1638">
                  <c:v>-1.3065932682739673E-3</c:v>
                </c:pt>
                <c:pt idx="1639">
                  <c:v>-4.8592370203956875E-3</c:v>
                </c:pt>
                <c:pt idx="1640">
                  <c:v>-9.4706602373083454E-3</c:v>
                </c:pt>
                <c:pt idx="1641">
                  <c:v>-1.8400966523241954E-2</c:v>
                </c:pt>
                <c:pt idx="1642">
                  <c:v>-2.5384391347019516E-2</c:v>
                </c:pt>
                <c:pt idx="1643">
                  <c:v>-2.9439777056316493E-2</c:v>
                </c:pt>
                <c:pt idx="1644">
                  <c:v>-3.5912042115195372E-2</c:v>
                </c:pt>
                <c:pt idx="1645">
                  <c:v>-5.1642501923740855E-2</c:v>
                </c:pt>
                <c:pt idx="1646">
                  <c:v>-5.4015448741612779E-2</c:v>
                </c:pt>
                <c:pt idx="1647">
                  <c:v>-6.2273223698559019E-2</c:v>
                </c:pt>
                <c:pt idx="1648">
                  <c:v>-6.182487748671571E-2</c:v>
                </c:pt>
                <c:pt idx="1649">
                  <c:v>-6.2433552194400485E-2</c:v>
                </c:pt>
                <c:pt idx="1650">
                  <c:v>-6.5091932979896225E-2</c:v>
                </c:pt>
                <c:pt idx="1651">
                  <c:v>-7.4589093357353739E-2</c:v>
                </c:pt>
                <c:pt idx="1652">
                  <c:v>-7.9581725019878799E-2</c:v>
                </c:pt>
                <c:pt idx="1653">
                  <c:v>-7.4154332413393295E-2</c:v>
                </c:pt>
                <c:pt idx="1654">
                  <c:v>-6.5470395023300529E-2</c:v>
                </c:pt>
                <c:pt idx="1655">
                  <c:v>-6.7684595282459944E-2</c:v>
                </c:pt>
                <c:pt idx="1656">
                  <c:v>-5.2778099373954376E-2</c:v>
                </c:pt>
                <c:pt idx="1657">
                  <c:v>-5.2712037109802642E-2</c:v>
                </c:pt>
                <c:pt idx="1658">
                  <c:v>-4.6405601601906973E-2</c:v>
                </c:pt>
                <c:pt idx="1659">
                  <c:v>-4.7353277201478958E-2</c:v>
                </c:pt>
                <c:pt idx="1660">
                  <c:v>-4.9791822684311912E-2</c:v>
                </c:pt>
                <c:pt idx="1661">
                  <c:v>-4.5684091699161641E-2</c:v>
                </c:pt>
                <c:pt idx="1662">
                  <c:v>-5.0120649630075217E-2</c:v>
                </c:pt>
                <c:pt idx="1663">
                  <c:v>-4.9802630178308424E-2</c:v>
                </c:pt>
                <c:pt idx="1664">
                  <c:v>-4.4092795433828144E-2</c:v>
                </c:pt>
                <c:pt idx="1665">
                  <c:v>-5.1254150595853129E-2</c:v>
                </c:pt>
                <c:pt idx="1666">
                  <c:v>-4.2449738060841943E-2</c:v>
                </c:pt>
                <c:pt idx="1667">
                  <c:v>-4.6130698549032276E-2</c:v>
                </c:pt>
                <c:pt idx="1668">
                  <c:v>-4.1741885694705924E-2</c:v>
                </c:pt>
                <c:pt idx="1669">
                  <c:v>-4.4142328555456176E-2</c:v>
                </c:pt>
                <c:pt idx="1670">
                  <c:v>-4.2796207386589721E-2</c:v>
                </c:pt>
                <c:pt idx="1671">
                  <c:v>-4.9470736604962026E-2</c:v>
                </c:pt>
                <c:pt idx="1672">
                  <c:v>-4.8448791419824597E-2</c:v>
                </c:pt>
                <c:pt idx="1673">
                  <c:v>-5.2418887608932527E-2</c:v>
                </c:pt>
                <c:pt idx="1674">
                  <c:v>-4.9122389336977643E-2</c:v>
                </c:pt>
                <c:pt idx="1675">
                  <c:v>-3.3955425020795946E-2</c:v>
                </c:pt>
                <c:pt idx="1676">
                  <c:v>-3.0424385141414864E-2</c:v>
                </c:pt>
                <c:pt idx="1677">
                  <c:v>-2.868018435419005E-2</c:v>
                </c:pt>
                <c:pt idx="1678">
                  <c:v>-2.3179306923566498E-2</c:v>
                </c:pt>
                <c:pt idx="1679">
                  <c:v>-2.025567073692712E-2</c:v>
                </c:pt>
                <c:pt idx="1680">
                  <c:v>-1.8741964714193302E-2</c:v>
                </c:pt>
                <c:pt idx="1681">
                  <c:v>-1.0498622154998402E-2</c:v>
                </c:pt>
                <c:pt idx="1682">
                  <c:v>-8.2597385272281526E-3</c:v>
                </c:pt>
                <c:pt idx="1683">
                  <c:v>-5.3256870748804447E-3</c:v>
                </c:pt>
                <c:pt idx="1684">
                  <c:v>-7.6445268117957127E-3</c:v>
                </c:pt>
                <c:pt idx="1685">
                  <c:v>-1.841675407365205E-2</c:v>
                </c:pt>
                <c:pt idx="1686">
                  <c:v>-2.483704120326434E-2</c:v>
                </c:pt>
                <c:pt idx="1687">
                  <c:v>-2.4524262162527774E-2</c:v>
                </c:pt>
                <c:pt idx="1688">
                  <c:v>-2.6176244644419686E-2</c:v>
                </c:pt>
                <c:pt idx="1689">
                  <c:v>-3.350909137815504E-2</c:v>
                </c:pt>
                <c:pt idx="1690">
                  <c:v>-2.8781327254204112E-2</c:v>
                </c:pt>
                <c:pt idx="1691">
                  <c:v>-2.6615355381654812E-2</c:v>
                </c:pt>
                <c:pt idx="1692">
                  <c:v>-3.4385945284355998E-2</c:v>
                </c:pt>
                <c:pt idx="1693">
                  <c:v>-3.1770447729244297E-2</c:v>
                </c:pt>
                <c:pt idx="1694">
                  <c:v>-2.7866623009173072E-2</c:v>
                </c:pt>
                <c:pt idx="1695">
                  <c:v>-2.7299619906150138E-2</c:v>
                </c:pt>
                <c:pt idx="1696">
                  <c:v>-2.4774008088769048E-2</c:v>
                </c:pt>
                <c:pt idx="1697">
                  <c:v>-2.325311764950265E-2</c:v>
                </c:pt>
                <c:pt idx="1698">
                  <c:v>-2.3773309077269808E-2</c:v>
                </c:pt>
                <c:pt idx="1699">
                  <c:v>-2.5082537346826292E-2</c:v>
                </c:pt>
                <c:pt idx="1700">
                  <c:v>2.1082908074169918E-2</c:v>
                </c:pt>
                <c:pt idx="1701">
                  <c:v>-1.998590852973757E-2</c:v>
                </c:pt>
                <c:pt idx="1702">
                  <c:v>-1.0287276475307347E-2</c:v>
                </c:pt>
                <c:pt idx="1703">
                  <c:v>8.6114740252248995E-3</c:v>
                </c:pt>
                <c:pt idx="1704">
                  <c:v>4.4120051943676089E-2</c:v>
                </c:pt>
                <c:pt idx="1705">
                  <c:v>2.270815108132164E-2</c:v>
                </c:pt>
                <c:pt idx="1706">
                  <c:v>3.2327813895325477E-2</c:v>
                </c:pt>
                <c:pt idx="1707">
                  <c:v>3.2712048061446578E-2</c:v>
                </c:pt>
                <c:pt idx="1708">
                  <c:v>6.5702087984050764E-2</c:v>
                </c:pt>
                <c:pt idx="1709">
                  <c:v>7.2496881152893336E-2</c:v>
                </c:pt>
                <c:pt idx="1710">
                  <c:v>7.1036599890000898E-2</c:v>
                </c:pt>
                <c:pt idx="1711">
                  <c:v>7.1452484934298358E-2</c:v>
                </c:pt>
                <c:pt idx="1712">
                  <c:v>0.10577221599001131</c:v>
                </c:pt>
                <c:pt idx="1713">
                  <c:v>0.1071512079064716</c:v>
                </c:pt>
                <c:pt idx="1714">
                  <c:v>0.12300357209783376</c:v>
                </c:pt>
                <c:pt idx="1715">
                  <c:v>0.12885778988934282</c:v>
                </c:pt>
                <c:pt idx="1716">
                  <c:v>0.12310894315267819</c:v>
                </c:pt>
                <c:pt idx="1717">
                  <c:v>0.11967407549559984</c:v>
                </c:pt>
                <c:pt idx="1718">
                  <c:v>0.11930426083772984</c:v>
                </c:pt>
                <c:pt idx="1719">
                  <c:v>0.10069625419960072</c:v>
                </c:pt>
                <c:pt idx="1720">
                  <c:v>0.10176472705079621</c:v>
                </c:pt>
                <c:pt idx="1721">
                  <c:v>0.1005716228912973</c:v>
                </c:pt>
                <c:pt idx="1722">
                  <c:v>7.8602245758724112E-2</c:v>
                </c:pt>
                <c:pt idx="1723">
                  <c:v>0.10799569082942019</c:v>
                </c:pt>
                <c:pt idx="1724">
                  <c:v>0.10698837117233663</c:v>
                </c:pt>
                <c:pt idx="1725">
                  <c:v>0.11517233326980349</c:v>
                </c:pt>
                <c:pt idx="1726">
                  <c:v>8.4668344711502655E-2</c:v>
                </c:pt>
                <c:pt idx="1727">
                  <c:v>7.707738787069475E-2</c:v>
                </c:pt>
                <c:pt idx="1728">
                  <c:v>7.6692810928249214E-2</c:v>
                </c:pt>
                <c:pt idx="1729">
                  <c:v>3.9602300768319512E-2</c:v>
                </c:pt>
                <c:pt idx="1730">
                  <c:v>3.2290553575654482E-2</c:v>
                </c:pt>
                <c:pt idx="1731">
                  <c:v>2.4155852966468841E-2</c:v>
                </c:pt>
                <c:pt idx="1732">
                  <c:v>2.5632295221261883E-2</c:v>
                </c:pt>
                <c:pt idx="1733">
                  <c:v>4.470529407935922E-3</c:v>
                </c:pt>
                <c:pt idx="1734">
                  <c:v>3.5891958139895111E-2</c:v>
                </c:pt>
                <c:pt idx="1735">
                  <c:v>5.8615760679097476E-2</c:v>
                </c:pt>
                <c:pt idx="1736">
                  <c:v>4.9889542548224766E-2</c:v>
                </c:pt>
                <c:pt idx="1737">
                  <c:v>2.3737983184110037E-2</c:v>
                </c:pt>
                <c:pt idx="1738">
                  <c:v>1.32437292226152E-2</c:v>
                </c:pt>
                <c:pt idx="1739">
                  <c:v>9.8445527765428503E-3</c:v>
                </c:pt>
                <c:pt idx="1740">
                  <c:v>1.8898004100204827E-2</c:v>
                </c:pt>
                <c:pt idx="1741">
                  <c:v>7.7417388499805423E-3</c:v>
                </c:pt>
                <c:pt idx="1742">
                  <c:v>9.972220533599932E-3</c:v>
                </c:pt>
                <c:pt idx="1743">
                  <c:v>-4.2463540154937793E-2</c:v>
                </c:pt>
                <c:pt idx="1744">
                  <c:v>-3.2613111585893736E-2</c:v>
                </c:pt>
                <c:pt idx="1745">
                  <c:v>-1.2787059854653879E-2</c:v>
                </c:pt>
                <c:pt idx="1746">
                  <c:v>-1.8168493726867657E-3</c:v>
                </c:pt>
                <c:pt idx="1747">
                  <c:v>-4.402730202265101E-3</c:v>
                </c:pt>
                <c:pt idx="1748">
                  <c:v>1.834678445626893E-2</c:v>
                </c:pt>
                <c:pt idx="1749">
                  <c:v>2.786177986961548E-2</c:v>
                </c:pt>
                <c:pt idx="1750">
                  <c:v>4.3860778533785463E-2</c:v>
                </c:pt>
                <c:pt idx="1751">
                  <c:v>4.412235336191829E-2</c:v>
                </c:pt>
                <c:pt idx="1752">
                  <c:v>5.4920870408797243E-2</c:v>
                </c:pt>
                <c:pt idx="1753">
                  <c:v>5.2401732433204132E-2</c:v>
                </c:pt>
                <c:pt idx="1754">
                  <c:v>5.4427103945785885E-2</c:v>
                </c:pt>
                <c:pt idx="1755">
                  <c:v>5.3376867886901672E-2</c:v>
                </c:pt>
                <c:pt idx="1756">
                  <c:v>5.9629861138582388E-2</c:v>
                </c:pt>
                <c:pt idx="1757">
                  <c:v>3.1491217317604417E-2</c:v>
                </c:pt>
                <c:pt idx="1758">
                  <c:v>1.8596263163050533E-2</c:v>
                </c:pt>
                <c:pt idx="1759">
                  <c:v>-1.1976586798907327E-2</c:v>
                </c:pt>
                <c:pt idx="1760">
                  <c:v>6.2701600808126173E-3</c:v>
                </c:pt>
                <c:pt idx="1761">
                  <c:v>1.4344661878730083E-2</c:v>
                </c:pt>
                <c:pt idx="1762">
                  <c:v>2.3760828675273862E-2</c:v>
                </c:pt>
                <c:pt idx="1763">
                  <c:v>2.2306724376471757E-2</c:v>
                </c:pt>
                <c:pt idx="1764">
                  <c:v>2.4293595994525422E-2</c:v>
                </c:pt>
                <c:pt idx="1765">
                  <c:v>1.0379472490182576E-2</c:v>
                </c:pt>
                <c:pt idx="1766">
                  <c:v>2.6703203931576353E-3</c:v>
                </c:pt>
                <c:pt idx="1767">
                  <c:v>-8.5849619080478889E-4</c:v>
                </c:pt>
                <c:pt idx="1768">
                  <c:v>-2.6576697825470438E-2</c:v>
                </c:pt>
                <c:pt idx="1769">
                  <c:v>6.1234221242159187E-3</c:v>
                </c:pt>
                <c:pt idx="1770">
                  <c:v>5.6574237115152443E-3</c:v>
                </c:pt>
                <c:pt idx="1771">
                  <c:v>3.5061074359407765E-2</c:v>
                </c:pt>
                <c:pt idx="1772">
                  <c:v>-1.1061981103458227E-2</c:v>
                </c:pt>
                <c:pt idx="1773">
                  <c:v>-1.4819806288870904E-2</c:v>
                </c:pt>
                <c:pt idx="1774">
                  <c:v>-6.8919058946814576E-3</c:v>
                </c:pt>
                <c:pt idx="1775">
                  <c:v>-1.0274624099399374E-2</c:v>
                </c:pt>
                <c:pt idx="1776">
                  <c:v>2.0748084527745514E-4</c:v>
                </c:pt>
                <c:pt idx="1777">
                  <c:v>-2.3903986635879088E-3</c:v>
                </c:pt>
                <c:pt idx="1778">
                  <c:v>-9.3995905067122271E-3</c:v>
                </c:pt>
                <c:pt idx="1779">
                  <c:v>1.3310914838178048E-2</c:v>
                </c:pt>
                <c:pt idx="1780">
                  <c:v>-5.8021019899325704E-3</c:v>
                </c:pt>
                <c:pt idx="1781">
                  <c:v>-6.7575369093368781E-3</c:v>
                </c:pt>
                <c:pt idx="1782">
                  <c:v>-1.0728574887877471E-2</c:v>
                </c:pt>
                <c:pt idx="1783">
                  <c:v>-1.9242270115858204E-2</c:v>
                </c:pt>
                <c:pt idx="1784">
                  <c:v>-9.4479537278803066E-3</c:v>
                </c:pt>
                <c:pt idx="1785">
                  <c:v>-6.1120941229787368E-3</c:v>
                </c:pt>
                <c:pt idx="1786">
                  <c:v>-5.9351937393275905E-3</c:v>
                </c:pt>
                <c:pt idx="1787">
                  <c:v>5.630688812734333E-3</c:v>
                </c:pt>
                <c:pt idx="1788">
                  <c:v>4.7056549971165179E-3</c:v>
                </c:pt>
                <c:pt idx="1789">
                  <c:v>-5.4593466065548796E-3</c:v>
                </c:pt>
                <c:pt idx="1790">
                  <c:v>1.0410110275073381E-4</c:v>
                </c:pt>
                <c:pt idx="1791">
                  <c:v>-4.5466162496841933E-4</c:v>
                </c:pt>
                <c:pt idx="1792">
                  <c:v>3.1625157223525019E-3</c:v>
                </c:pt>
                <c:pt idx="1793">
                  <c:v>1.2484015461073486E-2</c:v>
                </c:pt>
                <c:pt idx="1794">
                  <c:v>2.0093615302182247E-2</c:v>
                </c:pt>
                <c:pt idx="1795">
                  <c:v>1.7428525278411003E-2</c:v>
                </c:pt>
                <c:pt idx="1796">
                  <c:v>6.7182169846539269E-3</c:v>
                </c:pt>
                <c:pt idx="1797">
                  <c:v>1.1736336492933389E-2</c:v>
                </c:pt>
                <c:pt idx="1798">
                  <c:v>9.8933367388147758E-3</c:v>
                </c:pt>
                <c:pt idx="1799">
                  <c:v>1.3233925103175462E-2</c:v>
                </c:pt>
                <c:pt idx="1800">
                  <c:v>5.5262740983571673E-3</c:v>
                </c:pt>
                <c:pt idx="1801">
                  <c:v>3.9075567690221163E-3</c:v>
                </c:pt>
                <c:pt idx="1802">
                  <c:v>9.3147458758331553E-3</c:v>
                </c:pt>
                <c:pt idx="1803">
                  <c:v>1.0532203024391076E-2</c:v>
                </c:pt>
                <c:pt idx="1804">
                  <c:v>2.5185988052107838E-3</c:v>
                </c:pt>
                <c:pt idx="1805">
                  <c:v>4.74066250687534E-3</c:v>
                </c:pt>
                <c:pt idx="1806">
                  <c:v>1.0183573645773658E-4</c:v>
                </c:pt>
                <c:pt idx="1807">
                  <c:v>4.3349433257962172E-3</c:v>
                </c:pt>
                <c:pt idx="1808">
                  <c:v>1.5589847234674284E-2</c:v>
                </c:pt>
                <c:pt idx="1809">
                  <c:v>2.6947013140374981E-3</c:v>
                </c:pt>
                <c:pt idx="1810">
                  <c:v>1.5077115414593903E-2</c:v>
                </c:pt>
                <c:pt idx="1811">
                  <c:v>7.3808515637035083E-3</c:v>
                </c:pt>
                <c:pt idx="1812">
                  <c:v>3.8540359051811995E-3</c:v>
                </c:pt>
                <c:pt idx="1813">
                  <c:v>9.8160237622654384E-3</c:v>
                </c:pt>
                <c:pt idx="1814">
                  <c:v>-1.059041709837158E-3</c:v>
                </c:pt>
                <c:pt idx="1815">
                  <c:v>-3.5716849428358705E-3</c:v>
                </c:pt>
                <c:pt idx="1816">
                  <c:v>-5.5858244014018593E-3</c:v>
                </c:pt>
                <c:pt idx="1817">
                  <c:v>-1.1266917804333518E-2</c:v>
                </c:pt>
                <c:pt idx="1818">
                  <c:v>-1.7721458462818238E-2</c:v>
                </c:pt>
                <c:pt idx="1819">
                  <c:v>-9.379315256098017E-3</c:v>
                </c:pt>
                <c:pt idx="1820">
                  <c:v>-9.2739632201772476E-3</c:v>
                </c:pt>
                <c:pt idx="1821">
                  <c:v>-7.550126208783578E-3</c:v>
                </c:pt>
                <c:pt idx="1822">
                  <c:v>-3.9488745490881966E-3</c:v>
                </c:pt>
                <c:pt idx="1823">
                  <c:v>-1.8156073268569259E-2</c:v>
                </c:pt>
                <c:pt idx="1824">
                  <c:v>-2.0679832371861204E-2</c:v>
                </c:pt>
                <c:pt idx="1825">
                  <c:v>-3.0976331801002441E-2</c:v>
                </c:pt>
                <c:pt idx="1826">
                  <c:v>-2.8999826328596531E-2</c:v>
                </c:pt>
                <c:pt idx="1827">
                  <c:v>-4.0393391029971512E-2</c:v>
                </c:pt>
                <c:pt idx="1828">
                  <c:v>-4.0638140429393607E-2</c:v>
                </c:pt>
                <c:pt idx="1829">
                  <c:v>-4.1878729950665314E-2</c:v>
                </c:pt>
                <c:pt idx="1830">
                  <c:v>-3.5358736964397827E-2</c:v>
                </c:pt>
                <c:pt idx="1831">
                  <c:v>-3.4668219836812883E-2</c:v>
                </c:pt>
                <c:pt idx="1832">
                  <c:v>-3.7715357169813654E-2</c:v>
                </c:pt>
                <c:pt idx="1833">
                  <c:v>-4.0973477174131787E-2</c:v>
                </c:pt>
                <c:pt idx="1834">
                  <c:v>-3.4357066605549144E-2</c:v>
                </c:pt>
                <c:pt idx="1835">
                  <c:v>-4.2138600925582401E-2</c:v>
                </c:pt>
                <c:pt idx="1836">
                  <c:v>-4.2330146127300891E-2</c:v>
                </c:pt>
                <c:pt idx="1837">
                  <c:v>-4.3555210362586125E-2</c:v>
                </c:pt>
                <c:pt idx="1838">
                  <c:v>-4.6787701293160885E-2</c:v>
                </c:pt>
                <c:pt idx="1839">
                  <c:v>-4.7116982886039258E-2</c:v>
                </c:pt>
                <c:pt idx="1840">
                  <c:v>-5.5528658796816108E-2</c:v>
                </c:pt>
                <c:pt idx="1841">
                  <c:v>-4.1697054412386345E-2</c:v>
                </c:pt>
                <c:pt idx="1842">
                  <c:v>-3.4239933132417785E-2</c:v>
                </c:pt>
                <c:pt idx="1843">
                  <c:v>-3.3582671703643249E-2</c:v>
                </c:pt>
                <c:pt idx="1844">
                  <c:v>-2.846987961567192E-2</c:v>
                </c:pt>
                <c:pt idx="1845">
                  <c:v>-2.9531257019493648E-2</c:v>
                </c:pt>
                <c:pt idx="1846">
                  <c:v>-3.0212957465175369E-2</c:v>
                </c:pt>
                <c:pt idx="1847">
                  <c:v>-3.6220645136057258E-2</c:v>
                </c:pt>
                <c:pt idx="1848">
                  <c:v>-2.578416877435373E-2</c:v>
                </c:pt>
                <c:pt idx="1849">
                  <c:v>-2.3343618962370569E-2</c:v>
                </c:pt>
                <c:pt idx="1850">
                  <c:v>-2.7198713706410124E-2</c:v>
                </c:pt>
                <c:pt idx="1851">
                  <c:v>-2.729557526761249E-2</c:v>
                </c:pt>
                <c:pt idx="1852">
                  <c:v>-2.38683107659826E-2</c:v>
                </c:pt>
                <c:pt idx="1853">
                  <c:v>-1.5620108376360284E-2</c:v>
                </c:pt>
                <c:pt idx="1854">
                  <c:v>-9.5823057511957715E-3</c:v>
                </c:pt>
                <c:pt idx="1855">
                  <c:v>-4.8234705420315688E-3</c:v>
                </c:pt>
                <c:pt idx="1856">
                  <c:v>-2.4624913779928009E-3</c:v>
                </c:pt>
                <c:pt idx="1857">
                  <c:v>3.8738424194779825E-3</c:v>
                </c:pt>
                <c:pt idx="1858">
                  <c:v>1.1092024326265007E-2</c:v>
                </c:pt>
                <c:pt idx="1859">
                  <c:v>2.088216391861121E-2</c:v>
                </c:pt>
                <c:pt idx="1860">
                  <c:v>1.6389264609139823E-2</c:v>
                </c:pt>
                <c:pt idx="1861">
                  <c:v>1.348246859793413E-2</c:v>
                </c:pt>
                <c:pt idx="1862">
                  <c:v>2.4576912427539135E-2</c:v>
                </c:pt>
                <c:pt idx="1863">
                  <c:v>2.9972058990964459E-2</c:v>
                </c:pt>
                <c:pt idx="1864">
                  <c:v>3.6767181258886353E-2</c:v>
                </c:pt>
                <c:pt idx="1865">
                  <c:v>4.0344066108079626E-2</c:v>
                </c:pt>
                <c:pt idx="1866">
                  <c:v>3.8350062363601514E-2</c:v>
                </c:pt>
                <c:pt idx="1867">
                  <c:v>4.3339920885553732E-2</c:v>
                </c:pt>
                <c:pt idx="1868">
                  <c:v>4.2159420226334468E-2</c:v>
                </c:pt>
                <c:pt idx="1869">
                  <c:v>4.393388810993927E-2</c:v>
                </c:pt>
                <c:pt idx="1870">
                  <c:v>5.0672330320796002E-2</c:v>
                </c:pt>
                <c:pt idx="1871">
                  <c:v>4.9863446718611551E-2</c:v>
                </c:pt>
                <c:pt idx="1872">
                  <c:v>5.1019149923885357E-2</c:v>
                </c:pt>
                <c:pt idx="1873">
                  <c:v>5.1700375094475906E-2</c:v>
                </c:pt>
                <c:pt idx="1874">
                  <c:v>5.7741785789557923E-2</c:v>
                </c:pt>
                <c:pt idx="1875">
                  <c:v>4.8102453274625159E-2</c:v>
                </c:pt>
                <c:pt idx="1876">
                  <c:v>5.2410348857816938E-2</c:v>
                </c:pt>
                <c:pt idx="1877">
                  <c:v>4.9483689486243279E-2</c:v>
                </c:pt>
                <c:pt idx="1878">
                  <c:v>4.8918999978792024E-2</c:v>
                </c:pt>
                <c:pt idx="1879">
                  <c:v>4.3502273057536081E-2</c:v>
                </c:pt>
                <c:pt idx="1880">
                  <c:v>4.6454514056857091E-2</c:v>
                </c:pt>
                <c:pt idx="1881">
                  <c:v>3.5887529199333038E-2</c:v>
                </c:pt>
                <c:pt idx="1882">
                  <c:v>3.4872258130005954E-2</c:v>
                </c:pt>
                <c:pt idx="1883">
                  <c:v>3.030842148875236E-2</c:v>
                </c:pt>
                <c:pt idx="1884">
                  <c:v>3.2003077285938E-2</c:v>
                </c:pt>
                <c:pt idx="1885">
                  <c:v>3.3827762944819831E-2</c:v>
                </c:pt>
                <c:pt idx="1886">
                  <c:v>3.6070569221883023E-2</c:v>
                </c:pt>
                <c:pt idx="1887">
                  <c:v>3.6462493756610273E-2</c:v>
                </c:pt>
                <c:pt idx="1888">
                  <c:v>3.3449020076044902E-2</c:v>
                </c:pt>
                <c:pt idx="1889">
                  <c:v>4.3208937531688876E-2</c:v>
                </c:pt>
                <c:pt idx="1890">
                  <c:v>5.9790434398198214E-2</c:v>
                </c:pt>
                <c:pt idx="1891">
                  <c:v>-9.0919761184986431E-3</c:v>
                </c:pt>
                <c:pt idx="1892">
                  <c:v>-5.859347215854481E-2</c:v>
                </c:pt>
                <c:pt idx="1893">
                  <c:v>-9.8762508068406016E-2</c:v>
                </c:pt>
                <c:pt idx="1894">
                  <c:v>-0.1225100626334079</c:v>
                </c:pt>
                <c:pt idx="1895">
                  <c:v>-0.13251156243684814</c:v>
                </c:pt>
                <c:pt idx="1896">
                  <c:v>-6.6921471581230393E-2</c:v>
                </c:pt>
                <c:pt idx="1897">
                  <c:v>-9.9097069501277266E-2</c:v>
                </c:pt>
                <c:pt idx="1898">
                  <c:v>-0.12020461582999818</c:v>
                </c:pt>
                <c:pt idx="1899">
                  <c:v>-0.10559905397180346</c:v>
                </c:pt>
                <c:pt idx="1900">
                  <c:v>-5.6723596790638639E-2</c:v>
                </c:pt>
                <c:pt idx="1901">
                  <c:v>-6.5438699495171213E-2</c:v>
                </c:pt>
                <c:pt idx="1902">
                  <c:v>-6.1308027953901986E-2</c:v>
                </c:pt>
                <c:pt idx="1903">
                  <c:v>-8.7611299680657603E-2</c:v>
                </c:pt>
                <c:pt idx="1904">
                  <c:v>-9.894411024756343E-2</c:v>
                </c:pt>
                <c:pt idx="1905">
                  <c:v>-0.10040369601229414</c:v>
                </c:pt>
                <c:pt idx="1906">
                  <c:v>-5.5372226327481497E-2</c:v>
                </c:pt>
                <c:pt idx="1907">
                  <c:v>-4.9262802276055492E-2</c:v>
                </c:pt>
                <c:pt idx="1908">
                  <c:v>-7.573237182915081E-2</c:v>
                </c:pt>
                <c:pt idx="1909">
                  <c:v>-6.1171285097497793E-2</c:v>
                </c:pt>
                <c:pt idx="1910">
                  <c:v>-6.1207594777779137E-2</c:v>
                </c:pt>
                <c:pt idx="1911">
                  <c:v>-1.5368260886356108E-2</c:v>
                </c:pt>
                <c:pt idx="1912">
                  <c:v>2.6739217314029201E-3</c:v>
                </c:pt>
                <c:pt idx="1913">
                  <c:v>1.5096362802472299E-2</c:v>
                </c:pt>
                <c:pt idx="1914">
                  <c:v>-1.2090216795686975E-3</c:v>
                </c:pt>
                <c:pt idx="1915">
                  <c:v>8.0270952813600582E-4</c:v>
                </c:pt>
                <c:pt idx="1916">
                  <c:v>-1.3309291597243908E-2</c:v>
                </c:pt>
                <c:pt idx="1917">
                  <c:v>1.6270178088445122E-2</c:v>
                </c:pt>
                <c:pt idx="1918">
                  <c:v>1.4403818759185075E-2</c:v>
                </c:pt>
                <c:pt idx="1919">
                  <c:v>5.279801140607511E-2</c:v>
                </c:pt>
                <c:pt idx="1920">
                  <c:v>6.2187334946704823E-2</c:v>
                </c:pt>
                <c:pt idx="1921">
                  <c:v>4.4417685681942112E-2</c:v>
                </c:pt>
                <c:pt idx="1922">
                  <c:v>5.3377494434647968E-2</c:v>
                </c:pt>
                <c:pt idx="1923">
                  <c:v>6.4729842735966783E-2</c:v>
                </c:pt>
                <c:pt idx="1924">
                  <c:v>3.200816412182618E-2</c:v>
                </c:pt>
                <c:pt idx="1925">
                  <c:v>5.3788389452282495E-2</c:v>
                </c:pt>
                <c:pt idx="1926">
                  <c:v>3.5335274389299523E-2</c:v>
                </c:pt>
                <c:pt idx="1927">
                  <c:v>2.2304227664172852E-2</c:v>
                </c:pt>
                <c:pt idx="1928">
                  <c:v>1.0698366583847388E-2</c:v>
                </c:pt>
                <c:pt idx="1929">
                  <c:v>2.1494065787598507E-2</c:v>
                </c:pt>
                <c:pt idx="1930">
                  <c:v>6.6966514689111994E-3</c:v>
                </c:pt>
                <c:pt idx="1931">
                  <c:v>-5.6971354096089208E-2</c:v>
                </c:pt>
                <c:pt idx="1932">
                  <c:v>-3.0964546480126462E-2</c:v>
                </c:pt>
                <c:pt idx="1933">
                  <c:v>-1.669982912427502E-2</c:v>
                </c:pt>
                <c:pt idx="1934">
                  <c:v>-1.3065627409192357E-2</c:v>
                </c:pt>
                <c:pt idx="1935">
                  <c:v>-1.9947189531140802E-3</c:v>
                </c:pt>
                <c:pt idx="1936">
                  <c:v>-2.4162823352152349E-2</c:v>
                </c:pt>
                <c:pt idx="1937">
                  <c:v>-2.0025834722725441E-2</c:v>
                </c:pt>
                <c:pt idx="1938">
                  <c:v>9.6735645981339685E-3</c:v>
                </c:pt>
                <c:pt idx="1939">
                  <c:v>2.9028497764660557E-2</c:v>
                </c:pt>
                <c:pt idx="1940">
                  <c:v>4.6816342340475062E-2</c:v>
                </c:pt>
                <c:pt idx="1941">
                  <c:v>3.9144928522368852E-2</c:v>
                </c:pt>
                <c:pt idx="1942">
                  <c:v>4.074465435756626E-2</c:v>
                </c:pt>
                <c:pt idx="1943">
                  <c:v>3.487011101427441E-2</c:v>
                </c:pt>
                <c:pt idx="1944">
                  <c:v>4.150242706444375E-2</c:v>
                </c:pt>
                <c:pt idx="1945">
                  <c:v>8.0236886740812322E-2</c:v>
                </c:pt>
                <c:pt idx="1946">
                  <c:v>0.11257036189172311</c:v>
                </c:pt>
                <c:pt idx="1947">
                  <c:v>0.1300073384881274</c:v>
                </c:pt>
                <c:pt idx="1948">
                  <c:v>0.1411057809677817</c:v>
                </c:pt>
                <c:pt idx="1949">
                  <c:v>0.10354577648579168</c:v>
                </c:pt>
                <c:pt idx="1950">
                  <c:v>0.10983146564328895</c:v>
                </c:pt>
                <c:pt idx="1951">
                  <c:v>0.11492866924341273</c:v>
                </c:pt>
                <c:pt idx="1952">
                  <c:v>7.4079740294087051E-2</c:v>
                </c:pt>
                <c:pt idx="1953">
                  <c:v>0.1144151990816782</c:v>
                </c:pt>
                <c:pt idx="1954">
                  <c:v>5.2062141584888103E-2</c:v>
                </c:pt>
                <c:pt idx="1955">
                  <c:v>5.6873530837189393E-2</c:v>
                </c:pt>
                <c:pt idx="1956">
                  <c:v>5.1777154730851774E-2</c:v>
                </c:pt>
                <c:pt idx="1957">
                  <c:v>6.9307605544469825E-3</c:v>
                </c:pt>
                <c:pt idx="1958">
                  <c:v>-3.9898926138715249E-2</c:v>
                </c:pt>
                <c:pt idx="1959">
                  <c:v>-8.3176821275769738E-2</c:v>
                </c:pt>
                <c:pt idx="1960">
                  <c:v>-3.4104267747753977E-2</c:v>
                </c:pt>
                <c:pt idx="1961">
                  <c:v>-4.4933422205612888E-3</c:v>
                </c:pt>
                <c:pt idx="1962">
                  <c:v>-3.8105193072038718E-3</c:v>
                </c:pt>
                <c:pt idx="1963">
                  <c:v>-1.4843872323402771E-2</c:v>
                </c:pt>
                <c:pt idx="1964">
                  <c:v>-2.396650888964888E-3</c:v>
                </c:pt>
                <c:pt idx="1965">
                  <c:v>6.098048715499807E-3</c:v>
                </c:pt>
                <c:pt idx="1966">
                  <c:v>1.1220769215775223E-3</c:v>
                </c:pt>
                <c:pt idx="1967">
                  <c:v>1.0600334961357177E-3</c:v>
                </c:pt>
                <c:pt idx="1968">
                  <c:v>-3.2861059832918066E-3</c:v>
                </c:pt>
                <c:pt idx="1969">
                  <c:v>-3.6941957644262974E-3</c:v>
                </c:pt>
                <c:pt idx="1970">
                  <c:v>-4.4056934236824524E-3</c:v>
                </c:pt>
                <c:pt idx="1971">
                  <c:v>-3.7645801481108604E-3</c:v>
                </c:pt>
                <c:pt idx="1972">
                  <c:v>-1.0235276941405885E-3</c:v>
                </c:pt>
                <c:pt idx="1973">
                  <c:v>-7.5851364197864063E-3</c:v>
                </c:pt>
                <c:pt idx="1974">
                  <c:v>-1.0693472266157675E-2</c:v>
                </c:pt>
                <c:pt idx="1975">
                  <c:v>-2.4013883254041732E-2</c:v>
                </c:pt>
                <c:pt idx="1976">
                  <c:v>-2.0383375557261538E-2</c:v>
                </c:pt>
                <c:pt idx="1977">
                  <c:v>-2.254277509275536E-2</c:v>
                </c:pt>
                <c:pt idx="1978">
                  <c:v>-2.0970764559616203E-2</c:v>
                </c:pt>
                <c:pt idx="1979">
                  <c:v>-1.7445316066963631E-2</c:v>
                </c:pt>
                <c:pt idx="1980">
                  <c:v>-1.1549102687568577E-2</c:v>
                </c:pt>
                <c:pt idx="1981">
                  <c:v>-1.1899509706566488E-2</c:v>
                </c:pt>
                <c:pt idx="1982">
                  <c:v>-8.5379817130411956E-3</c:v>
                </c:pt>
                <c:pt idx="1983">
                  <c:v>-1.2386915617689662E-2</c:v>
                </c:pt>
                <c:pt idx="1984">
                  <c:v>-1.5822957054753978E-3</c:v>
                </c:pt>
                <c:pt idx="1985">
                  <c:v>8.6047701427741097E-5</c:v>
                </c:pt>
                <c:pt idx="1986">
                  <c:v>-1.1720282760739539E-2</c:v>
                </c:pt>
                <c:pt idx="1987">
                  <c:v>-2.6799062521912637E-3</c:v>
                </c:pt>
                <c:pt idx="1988">
                  <c:v>-8.9142733877510538E-4</c:v>
                </c:pt>
                <c:pt idx="1989">
                  <c:v>-2.4889769891405095E-3</c:v>
                </c:pt>
                <c:pt idx="1990">
                  <c:v>2.359422985797735E-3</c:v>
                </c:pt>
                <c:pt idx="1991">
                  <c:v>2.8304575176458929E-3</c:v>
                </c:pt>
                <c:pt idx="1992">
                  <c:v>-1.2455821741918921E-3</c:v>
                </c:pt>
                <c:pt idx="1993">
                  <c:v>6.9322057221762462E-3</c:v>
                </c:pt>
                <c:pt idx="1994">
                  <c:v>-6.2902738292439503E-3</c:v>
                </c:pt>
                <c:pt idx="1995">
                  <c:v>-1.5921360656321534E-2</c:v>
                </c:pt>
                <c:pt idx="1996">
                  <c:v>-1.1545379704298683E-2</c:v>
                </c:pt>
                <c:pt idx="1997">
                  <c:v>-3.7614713311855258E-3</c:v>
                </c:pt>
                <c:pt idx="1998">
                  <c:v>-5.7040742100199354E-3</c:v>
                </c:pt>
                <c:pt idx="1999">
                  <c:v>-1.4320779761024735E-2</c:v>
                </c:pt>
                <c:pt idx="2000">
                  <c:v>-1.7184641530919573E-2</c:v>
                </c:pt>
                <c:pt idx="2001">
                  <c:v>-2.1865393096925909E-2</c:v>
                </c:pt>
                <c:pt idx="2002">
                  <c:v>-2.2168297600697814E-2</c:v>
                </c:pt>
                <c:pt idx="2003">
                  <c:v>-1.484471198219349E-2</c:v>
                </c:pt>
                <c:pt idx="2004">
                  <c:v>-1.2226333761755068E-2</c:v>
                </c:pt>
                <c:pt idx="2005">
                  <c:v>-5.1481598137686907E-3</c:v>
                </c:pt>
                <c:pt idx="2006">
                  <c:v>-3.1931056272502673E-3</c:v>
                </c:pt>
                <c:pt idx="2007">
                  <c:v>-5.8982358009949942E-4</c:v>
                </c:pt>
                <c:pt idx="2008">
                  <c:v>-1.1853531876283435E-3</c:v>
                </c:pt>
                <c:pt idx="2009">
                  <c:v>-2.1785175051747124E-3</c:v>
                </c:pt>
                <c:pt idx="2010">
                  <c:v>-4.6204034842320801E-3</c:v>
                </c:pt>
                <c:pt idx="2011">
                  <c:v>4.3879178683994824E-5</c:v>
                </c:pt>
                <c:pt idx="2012">
                  <c:v>3.789468120753009E-4</c:v>
                </c:pt>
                <c:pt idx="2013">
                  <c:v>6.9522536243216276E-3</c:v>
                </c:pt>
                <c:pt idx="2014">
                  <c:v>1.0183541040731173E-2</c:v>
                </c:pt>
                <c:pt idx="2015">
                  <c:v>1.0162330110013454E-2</c:v>
                </c:pt>
                <c:pt idx="2016">
                  <c:v>2.0806126102316483E-2</c:v>
                </c:pt>
                <c:pt idx="2017">
                  <c:v>2.9149364459199814E-2</c:v>
                </c:pt>
                <c:pt idx="2018">
                  <c:v>3.0195815331752543E-2</c:v>
                </c:pt>
                <c:pt idx="2019">
                  <c:v>3.1276650873255388E-2</c:v>
                </c:pt>
                <c:pt idx="2020">
                  <c:v>2.2609918837408385E-2</c:v>
                </c:pt>
                <c:pt idx="2021">
                  <c:v>2.6187896025957294E-2</c:v>
                </c:pt>
                <c:pt idx="2022">
                  <c:v>2.324116788685783E-2</c:v>
                </c:pt>
                <c:pt idx="2023">
                  <c:v>6.4803817262041458E-3</c:v>
                </c:pt>
                <c:pt idx="2024">
                  <c:v>2.4037596899604843E-2</c:v>
                </c:pt>
                <c:pt idx="2025">
                  <c:v>3.0619236639111605E-2</c:v>
                </c:pt>
                <c:pt idx="2026">
                  <c:v>3.3025955111189012E-2</c:v>
                </c:pt>
                <c:pt idx="2027">
                  <c:v>1.6389113752372078E-2</c:v>
                </c:pt>
                <c:pt idx="2028">
                  <c:v>2.272958106202573E-2</c:v>
                </c:pt>
                <c:pt idx="2029">
                  <c:v>3.5209515573758191E-2</c:v>
                </c:pt>
                <c:pt idx="2030">
                  <c:v>4.0447922582503862E-2</c:v>
                </c:pt>
                <c:pt idx="2031">
                  <c:v>3.8923010232157509E-2</c:v>
                </c:pt>
                <c:pt idx="2032">
                  <c:v>3.3555881913604493E-2</c:v>
                </c:pt>
                <c:pt idx="2033">
                  <c:v>2.8564499317517159E-2</c:v>
                </c:pt>
                <c:pt idx="2034">
                  <c:v>1.4443673668829052E-2</c:v>
                </c:pt>
                <c:pt idx="2035">
                  <c:v>2.1628240031853277E-2</c:v>
                </c:pt>
                <c:pt idx="2036">
                  <c:v>1.5211390415370799E-2</c:v>
                </c:pt>
                <c:pt idx="2037">
                  <c:v>-1.7335636469979349E-3</c:v>
                </c:pt>
                <c:pt idx="2038">
                  <c:v>7.4453251828866807E-4</c:v>
                </c:pt>
                <c:pt idx="2039">
                  <c:v>-4.3587260631828689E-3</c:v>
                </c:pt>
                <c:pt idx="2040">
                  <c:v>-7.9332279682430146E-3</c:v>
                </c:pt>
                <c:pt idx="2041">
                  <c:v>-8.2082878954647803E-3</c:v>
                </c:pt>
                <c:pt idx="2042">
                  <c:v>-7.2927481038673608E-3</c:v>
                </c:pt>
                <c:pt idx="2043">
                  <c:v>-8.5859822254957668E-3</c:v>
                </c:pt>
                <c:pt idx="2044">
                  <c:v>-8.166577804019956E-3</c:v>
                </c:pt>
                <c:pt idx="2045">
                  <c:v>-3.9379710110599569E-3</c:v>
                </c:pt>
                <c:pt idx="2046">
                  <c:v>-1.2967539375567147E-2</c:v>
                </c:pt>
                <c:pt idx="2047">
                  <c:v>-1.6570048835546788E-2</c:v>
                </c:pt>
                <c:pt idx="2048">
                  <c:v>-1.6059754804743739E-2</c:v>
                </c:pt>
                <c:pt idx="2049">
                  <c:v>-1.2207024793975493E-2</c:v>
                </c:pt>
                <c:pt idx="2050">
                  <c:v>-3.5475877061508093E-3</c:v>
                </c:pt>
                <c:pt idx="2051">
                  <c:v>-7.2597604138588817E-3</c:v>
                </c:pt>
                <c:pt idx="2052">
                  <c:v>-5.9552178746030554E-3</c:v>
                </c:pt>
                <c:pt idx="2053">
                  <c:v>3.2916619914779149E-3</c:v>
                </c:pt>
                <c:pt idx="2054">
                  <c:v>2.6382383189441777E-3</c:v>
                </c:pt>
                <c:pt idx="2055">
                  <c:v>2.2685237750408455E-3</c:v>
                </c:pt>
                <c:pt idx="2056">
                  <c:v>-4.3427635349848476E-3</c:v>
                </c:pt>
                <c:pt idx="2057">
                  <c:v>1.7819152861631299E-3</c:v>
                </c:pt>
                <c:pt idx="2058">
                  <c:v>-3.6473986824044763E-3</c:v>
                </c:pt>
                <c:pt idx="2059">
                  <c:v>-5.480530344419296E-3</c:v>
                </c:pt>
                <c:pt idx="2060">
                  <c:v>-4.2868315448447575E-3</c:v>
                </c:pt>
                <c:pt idx="2061">
                  <c:v>-3.1146516077611291E-3</c:v>
                </c:pt>
                <c:pt idx="2062">
                  <c:v>-6.0284867025948013E-3</c:v>
                </c:pt>
                <c:pt idx="2063">
                  <c:v>-7.4679544503504086E-3</c:v>
                </c:pt>
                <c:pt idx="2064">
                  <c:v>4.6148485494060948E-3</c:v>
                </c:pt>
                <c:pt idx="2065">
                  <c:v>5.1069153440227583E-3</c:v>
                </c:pt>
                <c:pt idx="2066">
                  <c:v>3.7040967285763143E-3</c:v>
                </c:pt>
                <c:pt idx="2067">
                  <c:v>1.6419732317170657E-2</c:v>
                </c:pt>
                <c:pt idx="2068">
                  <c:v>5.6747102749887951E-3</c:v>
                </c:pt>
                <c:pt idx="2069">
                  <c:v>9.8481696387407031E-3</c:v>
                </c:pt>
                <c:pt idx="2070">
                  <c:v>1.0215363019649329E-2</c:v>
                </c:pt>
                <c:pt idx="2071">
                  <c:v>4.0127944971146828E-3</c:v>
                </c:pt>
                <c:pt idx="2072">
                  <c:v>-8.790071558350418E-3</c:v>
                </c:pt>
                <c:pt idx="2073">
                  <c:v>6.0140627317563367E-4</c:v>
                </c:pt>
                <c:pt idx="2074">
                  <c:v>-2.4667649022175331E-6</c:v>
                </c:pt>
                <c:pt idx="2075">
                  <c:v>-2.0629045064185933E-2</c:v>
                </c:pt>
                <c:pt idx="2076">
                  <c:v>-3.2501316339121761E-3</c:v>
                </c:pt>
                <c:pt idx="2077">
                  <c:v>-4.4047398559043799E-3</c:v>
                </c:pt>
                <c:pt idx="2078">
                  <c:v>-8.1620038558386371E-3</c:v>
                </c:pt>
                <c:pt idx="2079">
                  <c:v>-1.3797212689976898E-2</c:v>
                </c:pt>
                <c:pt idx="2080">
                  <c:v>-2.3897130064225322E-2</c:v>
                </c:pt>
                <c:pt idx="2081">
                  <c:v>-4.0704918295213485E-2</c:v>
                </c:pt>
                <c:pt idx="2082">
                  <c:v>-3.9651617382046242E-2</c:v>
                </c:pt>
                <c:pt idx="2083">
                  <c:v>-3.9246859351221949E-2</c:v>
                </c:pt>
                <c:pt idx="2084">
                  <c:v>-4.6069193619252422E-2</c:v>
                </c:pt>
                <c:pt idx="2085">
                  <c:v>-4.6326954084472502E-2</c:v>
                </c:pt>
                <c:pt idx="2086">
                  <c:v>-4.575432796155475E-2</c:v>
                </c:pt>
                <c:pt idx="2087">
                  <c:v>-4.3852970171090674E-2</c:v>
                </c:pt>
                <c:pt idx="2088">
                  <c:v>-4.5367632096555685E-2</c:v>
                </c:pt>
                <c:pt idx="2089">
                  <c:v>-3.9399406309947857E-2</c:v>
                </c:pt>
                <c:pt idx="2090">
                  <c:v>-3.7521645061450157E-2</c:v>
                </c:pt>
                <c:pt idx="2091">
                  <c:v>-5.1763901426655864E-2</c:v>
                </c:pt>
                <c:pt idx="2092">
                  <c:v>-5.1977937513724135E-2</c:v>
                </c:pt>
                <c:pt idx="2093">
                  <c:v>-4.864360048235615E-2</c:v>
                </c:pt>
                <c:pt idx="2094">
                  <c:v>-3.9828709694061923E-2</c:v>
                </c:pt>
                <c:pt idx="2095">
                  <c:v>-3.9995024827550338E-2</c:v>
                </c:pt>
                <c:pt idx="2096">
                  <c:v>-4.0618362502375591E-2</c:v>
                </c:pt>
                <c:pt idx="2097">
                  <c:v>-3.8826324711938018E-2</c:v>
                </c:pt>
                <c:pt idx="2098">
                  <c:v>-3.4033480386611123E-2</c:v>
                </c:pt>
                <c:pt idx="2099">
                  <c:v>-3.9260816330212708E-2</c:v>
                </c:pt>
                <c:pt idx="2100">
                  <c:v>-3.2498605619016394E-2</c:v>
                </c:pt>
                <c:pt idx="2101">
                  <c:v>-2.8252059473161104E-2</c:v>
                </c:pt>
                <c:pt idx="2102">
                  <c:v>-1.6741163878242413E-2</c:v>
                </c:pt>
                <c:pt idx="2103">
                  <c:v>-1.1924368532116633E-2</c:v>
                </c:pt>
                <c:pt idx="2104">
                  <c:v>-8.2478873022451132E-3</c:v>
                </c:pt>
                <c:pt idx="2105">
                  <c:v>6.7026635043977573E-3</c:v>
                </c:pt>
                <c:pt idx="2106">
                  <c:v>1.3257095769608554E-2</c:v>
                </c:pt>
                <c:pt idx="2107">
                  <c:v>1.2757350038397411E-2</c:v>
                </c:pt>
                <c:pt idx="2108">
                  <c:v>1.9011431233582302E-2</c:v>
                </c:pt>
                <c:pt idx="2109">
                  <c:v>1.9701134524253941E-2</c:v>
                </c:pt>
                <c:pt idx="2110">
                  <c:v>2.5303980634660564E-2</c:v>
                </c:pt>
                <c:pt idx="2111">
                  <c:v>3.87565871288338E-2</c:v>
                </c:pt>
                <c:pt idx="2112">
                  <c:v>4.0270595279169888E-2</c:v>
                </c:pt>
                <c:pt idx="2113">
                  <c:v>4.5820914894557987E-2</c:v>
                </c:pt>
                <c:pt idx="2114">
                  <c:v>4.7016704886402208E-2</c:v>
                </c:pt>
                <c:pt idx="2115">
                  <c:v>3.8794642688975381E-2</c:v>
                </c:pt>
                <c:pt idx="2116">
                  <c:v>4.6727282950451823E-2</c:v>
                </c:pt>
                <c:pt idx="2117">
                  <c:v>4.4908921389663306E-2</c:v>
                </c:pt>
                <c:pt idx="2118">
                  <c:v>4.2600093649371909E-2</c:v>
                </c:pt>
                <c:pt idx="2119">
                  <c:v>4.647654521589252E-2</c:v>
                </c:pt>
                <c:pt idx="2120">
                  <c:v>4.6004751310278827E-2</c:v>
                </c:pt>
                <c:pt idx="2121">
                  <c:v>3.6454564389303959E-2</c:v>
                </c:pt>
                <c:pt idx="2122">
                  <c:v>3.9063281470094316E-2</c:v>
                </c:pt>
                <c:pt idx="2123">
                  <c:v>2.9294849244794766E-2</c:v>
                </c:pt>
                <c:pt idx="2124">
                  <c:v>2.2276103756501922E-2</c:v>
                </c:pt>
                <c:pt idx="2125">
                  <c:v>1.5245031900141273E-2</c:v>
                </c:pt>
                <c:pt idx="2126">
                  <c:v>2.0552551203572925E-2</c:v>
                </c:pt>
                <c:pt idx="2127">
                  <c:v>1.7396503034522684E-2</c:v>
                </c:pt>
                <c:pt idx="2128">
                  <c:v>2.3943440996546675E-2</c:v>
                </c:pt>
                <c:pt idx="2129">
                  <c:v>2.1155420859589116E-2</c:v>
                </c:pt>
                <c:pt idx="2130">
                  <c:v>2.5008640084491454E-2</c:v>
                </c:pt>
                <c:pt idx="2131">
                  <c:v>2.1434384294312783E-2</c:v>
                </c:pt>
                <c:pt idx="2132">
                  <c:v>1.8271157191318568E-2</c:v>
                </c:pt>
                <c:pt idx="2133">
                  <c:v>8.0694868507302925E-3</c:v>
                </c:pt>
                <c:pt idx="2134">
                  <c:v>8.9693401160540059E-3</c:v>
                </c:pt>
                <c:pt idx="2135">
                  <c:v>9.1290684920464354E-3</c:v>
                </c:pt>
                <c:pt idx="2136">
                  <c:v>7.7163442435196489E-3</c:v>
                </c:pt>
                <c:pt idx="2137">
                  <c:v>-1.5230747740678646E-3</c:v>
                </c:pt>
                <c:pt idx="2138">
                  <c:v>-1.3187595829770901E-2</c:v>
                </c:pt>
                <c:pt idx="2139">
                  <c:v>-1.8996137526272702E-2</c:v>
                </c:pt>
                <c:pt idx="2140">
                  <c:v>-3.4309119444887112E-2</c:v>
                </c:pt>
                <c:pt idx="2141">
                  <c:v>-3.0928418143591471E-2</c:v>
                </c:pt>
                <c:pt idx="2142">
                  <c:v>-4.0589969030280657E-2</c:v>
                </c:pt>
                <c:pt idx="2143">
                  <c:v>-4.9033474852286693E-2</c:v>
                </c:pt>
                <c:pt idx="2144">
                  <c:v>-5.6274104373021147E-2</c:v>
                </c:pt>
                <c:pt idx="2145">
                  <c:v>-6.0835644459328084E-2</c:v>
                </c:pt>
                <c:pt idx="2146">
                  <c:v>-5.6662053459045056E-2</c:v>
                </c:pt>
                <c:pt idx="2147">
                  <c:v>-5.7015301252830483E-2</c:v>
                </c:pt>
                <c:pt idx="2148">
                  <c:v>-5.7940922434810846E-2</c:v>
                </c:pt>
                <c:pt idx="2149">
                  <c:v>-5.7191768594951439E-2</c:v>
                </c:pt>
                <c:pt idx="2150">
                  <c:v>-5.8453274061654223E-2</c:v>
                </c:pt>
                <c:pt idx="2151">
                  <c:v>-4.7084353051611502E-2</c:v>
                </c:pt>
                <c:pt idx="2152">
                  <c:v>-5.3434844159668357E-2</c:v>
                </c:pt>
                <c:pt idx="2153">
                  <c:v>-4.4175287301649421E-2</c:v>
                </c:pt>
                <c:pt idx="2154">
                  <c:v>-4.9554033401569927E-2</c:v>
                </c:pt>
                <c:pt idx="2155">
                  <c:v>-3.4965134713625487E-2</c:v>
                </c:pt>
                <c:pt idx="2156">
                  <c:v>-3.1647530407069899E-2</c:v>
                </c:pt>
                <c:pt idx="2157">
                  <c:v>-3.6020773715641149E-2</c:v>
                </c:pt>
                <c:pt idx="2158">
                  <c:v>-4.3540589275410144E-2</c:v>
                </c:pt>
                <c:pt idx="2159">
                  <c:v>-3.4153033166984134E-2</c:v>
                </c:pt>
                <c:pt idx="2160">
                  <c:v>-3.7963872717449818E-2</c:v>
                </c:pt>
                <c:pt idx="2161">
                  <c:v>-3.361687052504346E-2</c:v>
                </c:pt>
                <c:pt idx="2162">
                  <c:v>-3.6536579724676707E-2</c:v>
                </c:pt>
                <c:pt idx="2163">
                  <c:v>-3.3438662736440014E-2</c:v>
                </c:pt>
                <c:pt idx="2164">
                  <c:v>-3.076167283997587E-2</c:v>
                </c:pt>
                <c:pt idx="2165">
                  <c:v>-2.9697950850922736E-2</c:v>
                </c:pt>
                <c:pt idx="2166">
                  <c:v>-4.0365322109187848E-2</c:v>
                </c:pt>
                <c:pt idx="2167">
                  <c:v>-3.4052399231789252E-2</c:v>
                </c:pt>
                <c:pt idx="2168">
                  <c:v>-2.2676789018822627E-2</c:v>
                </c:pt>
                <c:pt idx="2169">
                  <c:v>-1.3163593130871329E-2</c:v>
                </c:pt>
                <c:pt idx="2170">
                  <c:v>1.0641768474776298E-3</c:v>
                </c:pt>
                <c:pt idx="2171">
                  <c:v>-1.9149480253649459E-3</c:v>
                </c:pt>
                <c:pt idx="2172">
                  <c:v>5.6163537354340237E-3</c:v>
                </c:pt>
                <c:pt idx="2173">
                  <c:v>1.7179691014220913E-2</c:v>
                </c:pt>
                <c:pt idx="2174">
                  <c:v>2.2789461047028628E-2</c:v>
                </c:pt>
                <c:pt idx="2175">
                  <c:v>3.1945017811554247E-2</c:v>
                </c:pt>
                <c:pt idx="2176">
                  <c:v>3.5657584671057188E-2</c:v>
                </c:pt>
                <c:pt idx="2177">
                  <c:v>2.6931494484366061E-2</c:v>
                </c:pt>
                <c:pt idx="2178">
                  <c:v>2.6899451218733619E-2</c:v>
                </c:pt>
                <c:pt idx="2179">
                  <c:v>2.1378747838991755E-2</c:v>
                </c:pt>
                <c:pt idx="2180">
                  <c:v>2.0851008479825919E-2</c:v>
                </c:pt>
                <c:pt idx="2181">
                  <c:v>1.9738069977608644E-2</c:v>
                </c:pt>
                <c:pt idx="2182">
                  <c:v>2.7735683307757344E-2</c:v>
                </c:pt>
                <c:pt idx="2183">
                  <c:v>2.3261326651708561E-2</c:v>
                </c:pt>
                <c:pt idx="2184">
                  <c:v>3.609682420927364E-2</c:v>
                </c:pt>
                <c:pt idx="2185">
                  <c:v>3.7543714373880391E-2</c:v>
                </c:pt>
                <c:pt idx="2186">
                  <c:v>3.6805149655334782E-2</c:v>
                </c:pt>
                <c:pt idx="2187">
                  <c:v>4.4784096080835903E-2</c:v>
                </c:pt>
                <c:pt idx="2188">
                  <c:v>5.056460571698386E-2</c:v>
                </c:pt>
                <c:pt idx="2189">
                  <c:v>4.7304389355823942E-2</c:v>
                </c:pt>
                <c:pt idx="2190">
                  <c:v>4.3953430225912263E-2</c:v>
                </c:pt>
                <c:pt idx="2191">
                  <c:v>3.137694954875693E-2</c:v>
                </c:pt>
                <c:pt idx="2192">
                  <c:v>3.5648060447147426E-2</c:v>
                </c:pt>
                <c:pt idx="2193">
                  <c:v>3.8071522087106416E-2</c:v>
                </c:pt>
                <c:pt idx="2194">
                  <c:v>1.7613573421273801E-2</c:v>
                </c:pt>
                <c:pt idx="2195">
                  <c:v>1.3815140224457081E-2</c:v>
                </c:pt>
                <c:pt idx="2196">
                  <c:v>1.9169129975554547E-2</c:v>
                </c:pt>
                <c:pt idx="2197">
                  <c:v>1.7840940099226779E-2</c:v>
                </c:pt>
                <c:pt idx="2198">
                  <c:v>2.3684263594128133E-2</c:v>
                </c:pt>
                <c:pt idx="2199">
                  <c:v>2.4361183502013453E-2</c:v>
                </c:pt>
                <c:pt idx="2200">
                  <c:v>2.1800598882454128E-2</c:v>
                </c:pt>
                <c:pt idx="2201">
                  <c:v>2.4708407110408573E-2</c:v>
                </c:pt>
                <c:pt idx="2202">
                  <c:v>2.7564375448208459E-2</c:v>
                </c:pt>
                <c:pt idx="2203">
                  <c:v>2.4499713110375923E-2</c:v>
                </c:pt>
                <c:pt idx="2204">
                  <c:v>2.0773799888777492E-2</c:v>
                </c:pt>
                <c:pt idx="2205">
                  <c:v>1.7106981987031325E-2</c:v>
                </c:pt>
                <c:pt idx="2206">
                  <c:v>1.7879718741066877E-2</c:v>
                </c:pt>
                <c:pt idx="2207">
                  <c:v>2.778575043669719E-2</c:v>
                </c:pt>
                <c:pt idx="2208">
                  <c:v>1.4745858992146435E-2</c:v>
                </c:pt>
                <c:pt idx="2209">
                  <c:v>1.721917032802768E-2</c:v>
                </c:pt>
                <c:pt idx="2210">
                  <c:v>1.7944323582880353E-2</c:v>
                </c:pt>
                <c:pt idx="2211">
                  <c:v>8.9862015109539867E-3</c:v>
                </c:pt>
                <c:pt idx="2212">
                  <c:v>7.7093243978910986E-4</c:v>
                </c:pt>
                <c:pt idx="2213">
                  <c:v>7.6676382794657189E-3</c:v>
                </c:pt>
                <c:pt idx="2214">
                  <c:v>4.3586839308541597E-3</c:v>
                </c:pt>
                <c:pt idx="2215">
                  <c:v>-4.2257214186397357E-3</c:v>
                </c:pt>
                <c:pt idx="2216">
                  <c:v>-1.0536727657152842E-2</c:v>
                </c:pt>
                <c:pt idx="2217">
                  <c:v>-8.4813061094623915E-3</c:v>
                </c:pt>
                <c:pt idx="2218">
                  <c:v>-7.5714392028090882E-4</c:v>
                </c:pt>
                <c:pt idx="2219">
                  <c:v>1.1025559799671583E-2</c:v>
                </c:pt>
                <c:pt idx="2220">
                  <c:v>1.0771279400519487E-2</c:v>
                </c:pt>
                <c:pt idx="2221">
                  <c:v>1.6420553846712274E-2</c:v>
                </c:pt>
                <c:pt idx="2222">
                  <c:v>2.188321342253631E-2</c:v>
                </c:pt>
                <c:pt idx="2223">
                  <c:v>1.9845479306385153E-2</c:v>
                </c:pt>
                <c:pt idx="2224">
                  <c:v>1.536126770695069E-2</c:v>
                </c:pt>
                <c:pt idx="2225">
                  <c:v>-3.1155402246052386E-2</c:v>
                </c:pt>
                <c:pt idx="2226">
                  <c:v>-7.5933938867397729E-2</c:v>
                </c:pt>
                <c:pt idx="2227">
                  <c:v>-8.7713030286357893E-2</c:v>
                </c:pt>
                <c:pt idx="2228">
                  <c:v>-6.266819806224154E-2</c:v>
                </c:pt>
                <c:pt idx="2229">
                  <c:v>-9.2996430791376747E-2</c:v>
                </c:pt>
                <c:pt idx="2230">
                  <c:v>-3.3302102292066413E-2</c:v>
                </c:pt>
                <c:pt idx="2231">
                  <c:v>-7.4897889968260495E-3</c:v>
                </c:pt>
                <c:pt idx="2232">
                  <c:v>2.0432577018692735E-2</c:v>
                </c:pt>
                <c:pt idx="2233">
                  <c:v>3.7028492301224639E-2</c:v>
                </c:pt>
                <c:pt idx="2234">
                  <c:v>0.19211340055539139</c:v>
                </c:pt>
                <c:pt idx="2235">
                  <c:v>0.2094057991820083</c:v>
                </c:pt>
                <c:pt idx="2236">
                  <c:v>0.21055194019264467</c:v>
                </c:pt>
                <c:pt idx="2237">
                  <c:v>0.17099276439961775</c:v>
                </c:pt>
                <c:pt idx="2238">
                  <c:v>0.12559004693412323</c:v>
                </c:pt>
                <c:pt idx="2239">
                  <c:v>0.13443789543664575</c:v>
                </c:pt>
                <c:pt idx="2240">
                  <c:v>0.1511588125494604</c:v>
                </c:pt>
                <c:pt idx="2241">
                  <c:v>0.13206800522823714</c:v>
                </c:pt>
                <c:pt idx="2242">
                  <c:v>0.12969368206940357</c:v>
                </c:pt>
                <c:pt idx="2243">
                  <c:v>0.15820890026369827</c:v>
                </c:pt>
                <c:pt idx="2244">
                  <c:v>0.25474126805899633</c:v>
                </c:pt>
                <c:pt idx="2245">
                  <c:v>0.20893360841948072</c:v>
                </c:pt>
                <c:pt idx="2246">
                  <c:v>0.23153243615583474</c:v>
                </c:pt>
                <c:pt idx="2247">
                  <c:v>0.28295907797544573</c:v>
                </c:pt>
                <c:pt idx="2248">
                  <c:v>0.37097084752438925</c:v>
                </c:pt>
                <c:pt idx="2249">
                  <c:v>0.32823330001409123</c:v>
                </c:pt>
                <c:pt idx="2250">
                  <c:v>0.39365873855718758</c:v>
                </c:pt>
                <c:pt idx="2251">
                  <c:v>0.35173201729467285</c:v>
                </c:pt>
                <c:pt idx="2252">
                  <c:v>0.39148504086696778</c:v>
                </c:pt>
                <c:pt idx="2253">
                  <c:v>0.41510274862392682</c:v>
                </c:pt>
                <c:pt idx="2254">
                  <c:v>0.42246337596210271</c:v>
                </c:pt>
                <c:pt idx="2255">
                  <c:v>0.35816114955792966</c:v>
                </c:pt>
                <c:pt idx="2256">
                  <c:v>0.48780533125068082</c:v>
                </c:pt>
                <c:pt idx="2257">
                  <c:v>0.57853448388046214</c:v>
                </c:pt>
                <c:pt idx="2258">
                  <c:v>0.57035996594788718</c:v>
                </c:pt>
                <c:pt idx="2259">
                  <c:v>0.5562552286088206</c:v>
                </c:pt>
                <c:pt idx="2260">
                  <c:v>0.48174976596383756</c:v>
                </c:pt>
                <c:pt idx="2261">
                  <c:v>0.42195157739896805</c:v>
                </c:pt>
                <c:pt idx="2262">
                  <c:v>0.41879105424521901</c:v>
                </c:pt>
                <c:pt idx="2263">
                  <c:v>0.49523868299204488</c:v>
                </c:pt>
                <c:pt idx="2264">
                  <c:v>0.53479274088216056</c:v>
                </c:pt>
                <c:pt idx="2265">
                  <c:v>0.69611446461955018</c:v>
                </c:pt>
                <c:pt idx="2266">
                  <c:v>0.5841480950780501</c:v>
                </c:pt>
                <c:pt idx="2267">
                  <c:v>0.83752147378265074</c:v>
                </c:pt>
                <c:pt idx="2268">
                  <c:v>0.89452833569892565</c:v>
                </c:pt>
                <c:pt idx="2269">
                  <c:v>1.0080498873507597</c:v>
                </c:pt>
                <c:pt idx="2270">
                  <c:v>1.0579139646812457</c:v>
                </c:pt>
                <c:pt idx="2271">
                  <c:v>1.1140315473503555</c:v>
                </c:pt>
                <c:pt idx="2272">
                  <c:v>1.1720607243005352</c:v>
                </c:pt>
                <c:pt idx="2273">
                  <c:v>1.1546011327556303</c:v>
                </c:pt>
                <c:pt idx="2274">
                  <c:v>1.0254097947061007</c:v>
                </c:pt>
                <c:pt idx="2275">
                  <c:v>1.0541695633117092</c:v>
                </c:pt>
                <c:pt idx="2276">
                  <c:v>0.64459157604345385</c:v>
                </c:pt>
                <c:pt idx="2277">
                  <c:v>0.61126389749698518</c:v>
                </c:pt>
                <c:pt idx="2278">
                  <c:v>0.62845210511524907</c:v>
                </c:pt>
                <c:pt idx="2279">
                  <c:v>0.7458188834013838</c:v>
                </c:pt>
                <c:pt idx="2280">
                  <c:v>0.84032796458421533</c:v>
                </c:pt>
                <c:pt idx="2281">
                  <c:v>0.90995727730639142</c:v>
                </c:pt>
                <c:pt idx="2282">
                  <c:v>1.0084305962214977</c:v>
                </c:pt>
                <c:pt idx="2283">
                  <c:v>1.1758398322663943</c:v>
                </c:pt>
                <c:pt idx="2284">
                  <c:v>1.1765762913590212</c:v>
                </c:pt>
                <c:pt idx="2285">
                  <c:v>1.1592230139850983</c:v>
                </c:pt>
                <c:pt idx="2286">
                  <c:v>1.0503701976908406</c:v>
                </c:pt>
                <c:pt idx="2287">
                  <c:v>1.0007111893221676</c:v>
                </c:pt>
                <c:pt idx="2288">
                  <c:v>0.82441294613681204</c:v>
                </c:pt>
                <c:pt idx="2289">
                  <c:v>0.7483081689883323</c:v>
                </c:pt>
                <c:pt idx="2290">
                  <c:v>0.7514732367653244</c:v>
                </c:pt>
                <c:pt idx="2291">
                  <c:v>0.78715746085093119</c:v>
                </c:pt>
                <c:pt idx="2292">
                  <c:v>0.79766577207829481</c:v>
                </c:pt>
                <c:pt idx="2293">
                  <c:v>0.82243752572481721</c:v>
                </c:pt>
                <c:pt idx="2294">
                  <c:v>0.85608846791263093</c:v>
                </c:pt>
                <c:pt idx="2295">
                  <c:v>0.90451825796808538</c:v>
                </c:pt>
                <c:pt idx="2296">
                  <c:v>0.90520609789776063</c:v>
                </c:pt>
                <c:pt idx="2297">
                  <c:v>0.9302549854614045</c:v>
                </c:pt>
                <c:pt idx="2298">
                  <c:v>0.94392450606688871</c:v>
                </c:pt>
                <c:pt idx="2299">
                  <c:v>0.87491998361926793</c:v>
                </c:pt>
                <c:pt idx="2300">
                  <c:v>0.81208826598401618</c:v>
                </c:pt>
                <c:pt idx="2301">
                  <c:v>0.74593849459629691</c:v>
                </c:pt>
                <c:pt idx="2302">
                  <c:v>0.69061213467207938</c:v>
                </c:pt>
                <c:pt idx="2303">
                  <c:v>0.58432535175926315</c:v>
                </c:pt>
                <c:pt idx="2304">
                  <c:v>0.47515128434023512</c:v>
                </c:pt>
                <c:pt idx="2305">
                  <c:v>0.34102884581132276</c:v>
                </c:pt>
                <c:pt idx="2306">
                  <c:v>0.3455868432809569</c:v>
                </c:pt>
                <c:pt idx="2307">
                  <c:v>0.35106937297392082</c:v>
                </c:pt>
                <c:pt idx="2308">
                  <c:v>0.35395148577339863</c:v>
                </c:pt>
                <c:pt idx="2309">
                  <c:v>0.34352973491331962</c:v>
                </c:pt>
                <c:pt idx="2310">
                  <c:v>0.33620214370294643</c:v>
                </c:pt>
                <c:pt idx="2311">
                  <c:v>0.32576134388826705</c:v>
                </c:pt>
                <c:pt idx="2312">
                  <c:v>0.31761604826398926</c:v>
                </c:pt>
                <c:pt idx="2313">
                  <c:v>0.30428121707642208</c:v>
                </c:pt>
                <c:pt idx="2314">
                  <c:v>0.29129296599216115</c:v>
                </c:pt>
                <c:pt idx="2315">
                  <c:v>0.27433519834179865</c:v>
                </c:pt>
                <c:pt idx="2316">
                  <c:v>0.25357314720767998</c:v>
                </c:pt>
                <c:pt idx="2317">
                  <c:v>0.2300139680386194</c:v>
                </c:pt>
                <c:pt idx="2318">
                  <c:v>0.20373523594128773</c:v>
                </c:pt>
                <c:pt idx="2319">
                  <c:v>0.16297726660100842</c:v>
                </c:pt>
                <c:pt idx="2320">
                  <c:v>0.11267572328612098</c:v>
                </c:pt>
                <c:pt idx="2321">
                  <c:v>-1.9941997315001778E-2</c:v>
                </c:pt>
                <c:pt idx="2322">
                  <c:v>-1.9262803090342659E-2</c:v>
                </c:pt>
                <c:pt idx="2323">
                  <c:v>-2.0880742420973361E-2</c:v>
                </c:pt>
                <c:pt idx="2324">
                  <c:v>-2.3334389220843174E-2</c:v>
                </c:pt>
                <c:pt idx="2325">
                  <c:v>-2.5707016604798558E-2</c:v>
                </c:pt>
                <c:pt idx="2326">
                  <c:v>-2.8629973012915241E-2</c:v>
                </c:pt>
                <c:pt idx="2327">
                  <c:v>-3.5316777377657246E-2</c:v>
                </c:pt>
                <c:pt idx="2328">
                  <c:v>-3.5897489175401573E-2</c:v>
                </c:pt>
                <c:pt idx="2329">
                  <c:v>-4.1545983993900401E-2</c:v>
                </c:pt>
                <c:pt idx="2330">
                  <c:v>-4.6801662431296895E-2</c:v>
                </c:pt>
                <c:pt idx="2331">
                  <c:v>-4.7053595637379639E-2</c:v>
                </c:pt>
                <c:pt idx="2332">
                  <c:v>-4.1980021805800169E-2</c:v>
                </c:pt>
                <c:pt idx="2333">
                  <c:v>-3.3418733901234163E-2</c:v>
                </c:pt>
                <c:pt idx="2334">
                  <c:v>-3.3208542925046033E-2</c:v>
                </c:pt>
                <c:pt idx="2335">
                  <c:v>-3.2013673065978007E-2</c:v>
                </c:pt>
                <c:pt idx="2336">
                  <c:v>-2.8188026030566124E-2</c:v>
                </c:pt>
                <c:pt idx="2337">
                  <c:v>-3.2920798863367282E-2</c:v>
                </c:pt>
                <c:pt idx="2338">
                  <c:v>-2.5562728929857989E-2</c:v>
                </c:pt>
                <c:pt idx="2339">
                  <c:v>-2.457074692260873E-2</c:v>
                </c:pt>
                <c:pt idx="2340">
                  <c:v>-2.5594536875812798E-2</c:v>
                </c:pt>
                <c:pt idx="2341">
                  <c:v>-2.4821418391670055E-2</c:v>
                </c:pt>
                <c:pt idx="2342">
                  <c:v>-2.1284449977003281E-2</c:v>
                </c:pt>
                <c:pt idx="2343">
                  <c:v>-2.9929355499646468E-2</c:v>
                </c:pt>
                <c:pt idx="2344">
                  <c:v>-2.3477739096568903E-2</c:v>
                </c:pt>
                <c:pt idx="2345">
                  <c:v>-1.6722343436777684E-2</c:v>
                </c:pt>
                <c:pt idx="2346">
                  <c:v>-1.8071250928752045E-2</c:v>
                </c:pt>
                <c:pt idx="2347">
                  <c:v>-2.151290724121778E-2</c:v>
                </c:pt>
                <c:pt idx="2348">
                  <c:v>-3.91622210955994E-2</c:v>
                </c:pt>
                <c:pt idx="2349">
                  <c:v>-2.9463356329783794E-2</c:v>
                </c:pt>
                <c:pt idx="2350">
                  <c:v>-3.6574379787622444E-2</c:v>
                </c:pt>
                <c:pt idx="2351">
                  <c:v>-2.0766971394848163E-2</c:v>
                </c:pt>
                <c:pt idx="2352">
                  <c:v>-1.3098864078082459E-2</c:v>
                </c:pt>
                <c:pt idx="2353">
                  <c:v>-1.0010361027129364E-2</c:v>
                </c:pt>
                <c:pt idx="2354">
                  <c:v>-1.1577344427936995E-2</c:v>
                </c:pt>
                <c:pt idx="2355">
                  <c:v>-1.0843019370027282E-2</c:v>
                </c:pt>
                <c:pt idx="2356">
                  <c:v>-8.857186306370543E-3</c:v>
                </c:pt>
                <c:pt idx="2357">
                  <c:v>3.3657455599097746E-3</c:v>
                </c:pt>
                <c:pt idx="2358">
                  <c:v>1.2777542570470493E-2</c:v>
                </c:pt>
                <c:pt idx="2359">
                  <c:v>1.402628071182023E-2</c:v>
                </c:pt>
                <c:pt idx="2360">
                  <c:v>2.0520215833983349E-2</c:v>
                </c:pt>
                <c:pt idx="2361">
                  <c:v>2.3495106645310529E-2</c:v>
                </c:pt>
                <c:pt idx="2362">
                  <c:v>3.0947820672803897E-2</c:v>
                </c:pt>
                <c:pt idx="2363">
                  <c:v>3.2125791625528768E-2</c:v>
                </c:pt>
                <c:pt idx="2364">
                  <c:v>3.1840557657485072E-2</c:v>
                </c:pt>
                <c:pt idx="2365">
                  <c:v>3.4059592875720482E-2</c:v>
                </c:pt>
                <c:pt idx="2366">
                  <c:v>2.8548810109609649E-2</c:v>
                </c:pt>
                <c:pt idx="2367">
                  <c:v>1.5032847820587572E-2</c:v>
                </c:pt>
                <c:pt idx="2368">
                  <c:v>1.3802107731118132E-2</c:v>
                </c:pt>
                <c:pt idx="2369">
                  <c:v>1.9084361724199597E-2</c:v>
                </c:pt>
                <c:pt idx="2370">
                  <c:v>2.0134619355039254E-2</c:v>
                </c:pt>
                <c:pt idx="2371">
                  <c:v>1.8510691348869082E-2</c:v>
                </c:pt>
                <c:pt idx="2372">
                  <c:v>1.2221361414215828E-2</c:v>
                </c:pt>
                <c:pt idx="2373">
                  <c:v>1.6710491369912997E-2</c:v>
                </c:pt>
                <c:pt idx="2374">
                  <c:v>2.1593364088759032E-3</c:v>
                </c:pt>
                <c:pt idx="2375">
                  <c:v>2.7462172719500272E-3</c:v>
                </c:pt>
                <c:pt idx="2376">
                  <c:v>8.5437890844701908E-3</c:v>
                </c:pt>
                <c:pt idx="2377">
                  <c:v>2.349306034241351E-2</c:v>
                </c:pt>
                <c:pt idx="2378">
                  <c:v>2.0157567034362903E-2</c:v>
                </c:pt>
                <c:pt idx="2379">
                  <c:v>1.8582650214398547E-2</c:v>
                </c:pt>
                <c:pt idx="2380">
                  <c:v>1.7487504219569586E-2</c:v>
                </c:pt>
                <c:pt idx="2381">
                  <c:v>1.2935792459027998E-2</c:v>
                </c:pt>
                <c:pt idx="2382">
                  <c:v>1.2350784958389718E-2</c:v>
                </c:pt>
                <c:pt idx="2383">
                  <c:v>1.2387076668585975E-2</c:v>
                </c:pt>
                <c:pt idx="2384">
                  <c:v>1.7904651840407806E-2</c:v>
                </c:pt>
                <c:pt idx="2385">
                  <c:v>1.2303775578228496E-2</c:v>
                </c:pt>
                <c:pt idx="2386">
                  <c:v>1.838331738592526E-2</c:v>
                </c:pt>
                <c:pt idx="2387">
                  <c:v>1.9113967582056982E-2</c:v>
                </c:pt>
                <c:pt idx="2388">
                  <c:v>2.5297797408962666E-2</c:v>
                </c:pt>
                <c:pt idx="2389">
                  <c:v>2.880036840097068E-2</c:v>
                </c:pt>
                <c:pt idx="2390">
                  <c:v>3.3821998368449249E-2</c:v>
                </c:pt>
                <c:pt idx="2391">
                  <c:v>2.9714644354411415E-2</c:v>
                </c:pt>
                <c:pt idx="2392">
                  <c:v>1.9135355790323785E-2</c:v>
                </c:pt>
                <c:pt idx="2393">
                  <c:v>1.4380966202650627E-2</c:v>
                </c:pt>
                <c:pt idx="2394">
                  <c:v>1.3315547629871763E-2</c:v>
                </c:pt>
                <c:pt idx="2395">
                  <c:v>5.787456191178611E-3</c:v>
                </c:pt>
                <c:pt idx="2396">
                  <c:v>6.317088524233308E-3</c:v>
                </c:pt>
                <c:pt idx="2397">
                  <c:v>1.6670376640184906E-2</c:v>
                </c:pt>
                <c:pt idx="2398">
                  <c:v>1.8936700867251313E-2</c:v>
                </c:pt>
                <c:pt idx="2399">
                  <c:v>1.3102412823185153E-2</c:v>
                </c:pt>
                <c:pt idx="2400">
                  <c:v>1.3286653481411351E-2</c:v>
                </c:pt>
                <c:pt idx="2401">
                  <c:v>1.8748126695731351E-2</c:v>
                </c:pt>
                <c:pt idx="2402">
                  <c:v>2.1383948788017984E-2</c:v>
                </c:pt>
                <c:pt idx="2403">
                  <c:v>2.5525235935380045E-2</c:v>
                </c:pt>
                <c:pt idx="2404">
                  <c:v>3.5284378069656799E-2</c:v>
                </c:pt>
                <c:pt idx="2405">
                  <c:v>3.4435177860544189E-2</c:v>
                </c:pt>
                <c:pt idx="2406">
                  <c:v>3.3187629557016499E-2</c:v>
                </c:pt>
                <c:pt idx="2407">
                  <c:v>2.1086028475335819E-2</c:v>
                </c:pt>
                <c:pt idx="2408">
                  <c:v>2.7392680571455177E-2</c:v>
                </c:pt>
                <c:pt idx="2409">
                  <c:v>2.9997674574710601E-2</c:v>
                </c:pt>
                <c:pt idx="2410">
                  <c:v>3.000742005538283E-2</c:v>
                </c:pt>
                <c:pt idx="2411">
                  <c:v>2.4858556030843429E-2</c:v>
                </c:pt>
                <c:pt idx="2412">
                  <c:v>2.7280774533775878E-2</c:v>
                </c:pt>
                <c:pt idx="2413">
                  <c:v>2.2941238167011005E-2</c:v>
                </c:pt>
                <c:pt idx="2414">
                  <c:v>2.1734594551483868E-2</c:v>
                </c:pt>
                <c:pt idx="2415">
                  <c:v>1.8887360675065148E-2</c:v>
                </c:pt>
                <c:pt idx="2416">
                  <c:v>2.4231936558635106E-2</c:v>
                </c:pt>
                <c:pt idx="2417">
                  <c:v>1.5747962699745668E-2</c:v>
                </c:pt>
                <c:pt idx="2418">
                  <c:v>1.1367961996712986E-2</c:v>
                </c:pt>
                <c:pt idx="2419">
                  <c:v>5.9007418175587995E-3</c:v>
                </c:pt>
                <c:pt idx="2420">
                  <c:v>1.7673300070104175E-3</c:v>
                </c:pt>
                <c:pt idx="2421">
                  <c:v>3.420260206993167E-3</c:v>
                </c:pt>
                <c:pt idx="2422">
                  <c:v>3.6311178295357488E-3</c:v>
                </c:pt>
                <c:pt idx="2423">
                  <c:v>7.695027552900538E-3</c:v>
                </c:pt>
                <c:pt idx="2424">
                  <c:v>5.3645967007952128E-3</c:v>
                </c:pt>
                <c:pt idx="2425">
                  <c:v>8.4694265682541819E-3</c:v>
                </c:pt>
                <c:pt idx="2426">
                  <c:v>1.7388892434241535E-2</c:v>
                </c:pt>
                <c:pt idx="2427">
                  <c:v>1.7844882487400085E-2</c:v>
                </c:pt>
                <c:pt idx="2428">
                  <c:v>1.3959424472304374E-2</c:v>
                </c:pt>
                <c:pt idx="2429">
                  <c:v>1.8918512112785571E-2</c:v>
                </c:pt>
                <c:pt idx="2430">
                  <c:v>2.1540089342738725E-2</c:v>
                </c:pt>
                <c:pt idx="2431">
                  <c:v>1.5593315965817048E-2</c:v>
                </c:pt>
                <c:pt idx="2432">
                  <c:v>1.5603003821487785E-2</c:v>
                </c:pt>
                <c:pt idx="2433">
                  <c:v>1.0840987436567931E-2</c:v>
                </c:pt>
                <c:pt idx="2434">
                  <c:v>6.4208548949135219E-3</c:v>
                </c:pt>
                <c:pt idx="2435">
                  <c:v>8.2999330972911706E-3</c:v>
                </c:pt>
                <c:pt idx="2436">
                  <c:v>1.3737425608159562E-2</c:v>
                </c:pt>
                <c:pt idx="2437">
                  <c:v>1.8346368543062999E-2</c:v>
                </c:pt>
                <c:pt idx="2438">
                  <c:v>2.5099988069966286E-2</c:v>
                </c:pt>
                <c:pt idx="2439">
                  <c:v>1.6691749266454906E-2</c:v>
                </c:pt>
                <c:pt idx="2440">
                  <c:v>1.6915009938964179E-2</c:v>
                </c:pt>
                <c:pt idx="2441">
                  <c:v>2.0008682808338632E-2</c:v>
                </c:pt>
                <c:pt idx="2442">
                  <c:v>2.2558053214640675E-2</c:v>
                </c:pt>
                <c:pt idx="2443">
                  <c:v>2.1807078124272364E-2</c:v>
                </c:pt>
                <c:pt idx="2444">
                  <c:v>1.0741211339385284E-2</c:v>
                </c:pt>
                <c:pt idx="2445">
                  <c:v>4.5962012200938887E-2</c:v>
                </c:pt>
                <c:pt idx="2446">
                  <c:v>4.8179957404374765E-2</c:v>
                </c:pt>
                <c:pt idx="2447">
                  <c:v>6.2535071865541539E-2</c:v>
                </c:pt>
                <c:pt idx="2448">
                  <c:v>8.0397049860013073E-2</c:v>
                </c:pt>
                <c:pt idx="2449">
                  <c:v>8.2661561346910953E-2</c:v>
                </c:pt>
                <c:pt idx="2450">
                  <c:v>8.510885848461848E-2</c:v>
                </c:pt>
              </c:numCache>
            </c:numRef>
          </c:val>
          <c:smooth val="0"/>
          <c:extLst>
            <c:ext xmlns:c16="http://schemas.microsoft.com/office/drawing/2014/chart" uri="{C3380CC4-5D6E-409C-BE32-E72D297353CC}">
              <c16:uniqueId val="{00000003-E8C3-0F48-8FA3-FF06215CD741}"/>
            </c:ext>
          </c:extLst>
        </c:ser>
        <c:dLbls>
          <c:showLegendKey val="0"/>
          <c:showVal val="0"/>
          <c:showCatName val="0"/>
          <c:showSerName val="0"/>
          <c:showPercent val="0"/>
          <c:showBubbleSize val="0"/>
        </c:dLbls>
        <c:marker val="1"/>
        <c:smooth val="0"/>
        <c:axId val="1644169728"/>
        <c:axId val="1644527792"/>
      </c:lineChart>
      <c:catAx>
        <c:axId val="1575428528"/>
        <c:scaling>
          <c:orientation val="minMax"/>
        </c:scaling>
        <c:delete val="1"/>
        <c:axPos val="b"/>
        <c:numFmt formatCode="General" sourceLinked="1"/>
        <c:majorTickMark val="none"/>
        <c:minorTickMark val="none"/>
        <c:tickLblPos val="nextTo"/>
        <c:crossAx val="1575046624"/>
        <c:crosses val="autoZero"/>
        <c:auto val="1"/>
        <c:lblAlgn val="ctr"/>
        <c:lblOffset val="100"/>
        <c:noMultiLvlLbl val="0"/>
      </c:catAx>
      <c:valAx>
        <c:axId val="1575046624"/>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75428528"/>
        <c:crosses val="autoZero"/>
        <c:crossBetween val="between"/>
      </c:valAx>
      <c:valAx>
        <c:axId val="1644527792"/>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4169728"/>
        <c:crosses val="max"/>
        <c:crossBetween val="between"/>
      </c:valAx>
      <c:catAx>
        <c:axId val="1644169728"/>
        <c:scaling>
          <c:orientation val="minMax"/>
        </c:scaling>
        <c:delete val="1"/>
        <c:axPos val="b"/>
        <c:majorTickMark val="none"/>
        <c:minorTickMark val="none"/>
        <c:tickLblPos val="nextTo"/>
        <c:crossAx val="1644527792"/>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US"/>
              <a:t>Correlation Coefficient Pump Failure (Rolling</a:t>
            </a:r>
            <a:r>
              <a:rPr lang="en-US" baseline="0"/>
              <a:t> STDev)</a:t>
            </a:r>
            <a:endParaRPr lang="en-US"/>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4">
                <a:lumMod val="60000"/>
                <a:lumOff val="40000"/>
              </a:schemeClr>
            </a:solidFill>
            <a:ln w="9525" cap="flat" cmpd="sng" algn="ctr">
              <a:solidFill>
                <a:schemeClr val="accent1">
                  <a:shade val="95000"/>
                </a:schemeClr>
              </a:solidFill>
              <a:round/>
            </a:ln>
            <a:effectLst/>
          </c:spPr>
          <c:invertIfNegative val="0"/>
          <c:dLbls>
            <c:spPr>
              <a:solidFill>
                <a:schemeClr val="bg2">
                  <a:alpha val="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C375-3C43-88C0-D96087B6F435}"/>
            </c:ext>
          </c:extLst>
        </c:ser>
        <c:dLbls>
          <c:dLblPos val="inEnd"/>
          <c:showLegendKey val="0"/>
          <c:showVal val="1"/>
          <c:showCatName val="0"/>
          <c:showSerName val="0"/>
          <c:showPercent val="0"/>
          <c:showBubbleSize val="0"/>
        </c:dLbls>
        <c:gapWidth val="100"/>
        <c:overlap val="-33"/>
        <c:axId val="1725772656"/>
        <c:axId val="1725857488"/>
      </c:barChart>
      <c:catAx>
        <c:axId val="17257726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1725857488"/>
        <c:crosses val="autoZero"/>
        <c:auto val="1"/>
        <c:lblAlgn val="ctr"/>
        <c:lblOffset val="100"/>
        <c:noMultiLvlLbl val="0"/>
      </c:catAx>
      <c:valAx>
        <c:axId val="1725857488"/>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1725772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RT Rolling Mea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2226594725278438E-2"/>
          <c:y val="0.19825673287292603"/>
          <c:w val="0.89046097736549235"/>
          <c:h val="0.50432378001147127"/>
        </c:manualLayout>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F400-CD4D-A4A5-861E1253E0A5}"/>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F400-CD4D-A4A5-861E1253E0A5}"/>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F400-CD4D-A4A5-861E1253E0A5}"/>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F400-CD4D-A4A5-861E1253E0A5}"/>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F400-CD4D-A4A5-861E1253E0A5}"/>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F400-CD4D-A4A5-861E1253E0A5}"/>
            </c:ext>
          </c:extLst>
        </c:ser>
        <c:dLbls>
          <c:showLegendKey val="0"/>
          <c:showVal val="0"/>
          <c:showCatName val="0"/>
          <c:showSerName val="0"/>
          <c:showPercent val="0"/>
          <c:showBubbleSize val="0"/>
        </c:dLbls>
        <c:marker val="1"/>
        <c:smooth val="0"/>
        <c:axId val="1090929327"/>
        <c:axId val="1090930975"/>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F400-CD4D-A4A5-861E1253E0A5}"/>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F400-CD4D-A4A5-861E1253E0A5}"/>
            </c:ext>
          </c:extLst>
        </c:ser>
        <c:dLbls>
          <c:showLegendKey val="0"/>
          <c:showVal val="0"/>
          <c:showCatName val="0"/>
          <c:showSerName val="0"/>
          <c:showPercent val="0"/>
          <c:showBubbleSize val="0"/>
        </c:dLbls>
        <c:marker val="1"/>
        <c:smooth val="0"/>
        <c:axId val="1064342831"/>
        <c:axId val="977595519"/>
      </c:lineChart>
      <c:catAx>
        <c:axId val="1090929327"/>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0930975"/>
        <c:crosses val="autoZero"/>
        <c:auto val="1"/>
        <c:lblAlgn val="ctr"/>
        <c:lblOffset val="100"/>
        <c:noMultiLvlLbl val="0"/>
      </c:catAx>
      <c:valAx>
        <c:axId val="109093097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0929327"/>
        <c:crosses val="autoZero"/>
        <c:crossBetween val="between"/>
      </c:valAx>
      <c:valAx>
        <c:axId val="977595519"/>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4342831"/>
        <c:crosses val="max"/>
        <c:crossBetween val="between"/>
      </c:valAx>
      <c:catAx>
        <c:axId val="1064342831"/>
        <c:scaling>
          <c:orientation val="minMax"/>
        </c:scaling>
        <c:delete val="1"/>
        <c:axPos val="b"/>
        <c:majorTickMark val="out"/>
        <c:minorTickMark val="none"/>
        <c:tickLblPos val="nextTo"/>
        <c:crossAx val="977595519"/>
        <c:crosses val="autoZero"/>
        <c:auto val="1"/>
        <c:lblAlgn val="ctr"/>
        <c:lblOffset val="100"/>
        <c:noMultiLvlLbl val="0"/>
      </c:catAx>
      <c:spPr>
        <a:noFill/>
        <a:ln>
          <a:noFill/>
        </a:ln>
        <a:effectLst/>
      </c:spPr>
    </c:plotArea>
    <c:legend>
      <c:legendPos val="b"/>
      <c:layout>
        <c:manualLayout>
          <c:xMode val="edge"/>
          <c:yMode val="edge"/>
          <c:x val="1.4226694209368958E-2"/>
          <c:y val="0.86168295886705626"/>
          <c:w val="0.95813737626666229"/>
          <c:h val="0.1155169370064839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RT Rolling</a:t>
            </a:r>
            <a:r>
              <a:rPr lang="en-US" baseline="0"/>
              <a:t> STDev</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3716629187568471E-2"/>
          <c:y val="0.20408633070460841"/>
          <c:w val="0.88783803263564554"/>
          <c:h val="0.47160847954140767"/>
        </c:manualLayout>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val>
            <c:numRef>
              <c:f>'DRT Rolling Stdev'!$C$2:$C$2454</c:f>
              <c:numCache>
                <c:formatCode>#,##0.00</c:formatCode>
                <c:ptCount val="2453"/>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2DD9-7948-A57E-ED1BFD8827E1}"/>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val>
            <c:numRef>
              <c:f>'DRT Rolling Stdev'!$D$2:$D$2454</c:f>
              <c:numCache>
                <c:formatCode>#,##0.00</c:formatCode>
                <c:ptCount val="2453"/>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2DD9-7948-A57E-ED1BFD8827E1}"/>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val>
            <c:numRef>
              <c:f>'DRT Rolling Stdev'!$E$2:$E$2454</c:f>
              <c:numCache>
                <c:formatCode>#,##0.00</c:formatCode>
                <c:ptCount val="2453"/>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2DD9-7948-A57E-ED1BFD8827E1}"/>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val>
            <c:numRef>
              <c:f>'DRT Rolling Stdev'!$F$2:$F$2454</c:f>
              <c:numCache>
                <c:formatCode>#,##0.00</c:formatCode>
                <c:ptCount val="2453"/>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2DD9-7948-A57E-ED1BFD8827E1}"/>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val>
            <c:numRef>
              <c:f>'DRT Rolling Stdev'!$G$2:$G$2454</c:f>
              <c:numCache>
                <c:formatCode>#,##0.00</c:formatCode>
                <c:ptCount val="2453"/>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2DD9-7948-A57E-ED1BFD8827E1}"/>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val>
            <c:numRef>
              <c:f>'DRT Rolling Stdev'!$I$2:$I$2454</c:f>
              <c:numCache>
                <c:formatCode>#,##0.00</c:formatCode>
                <c:ptCount val="2453"/>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2DD9-7948-A57E-ED1BFD8827E1}"/>
            </c:ext>
          </c:extLst>
        </c:ser>
        <c:dLbls>
          <c:showLegendKey val="0"/>
          <c:showVal val="0"/>
          <c:showCatName val="0"/>
          <c:showSerName val="0"/>
          <c:showPercent val="0"/>
          <c:showBubbleSize val="0"/>
        </c:dLbls>
        <c:marker val="1"/>
        <c:smooth val="0"/>
        <c:axId val="197864655"/>
        <c:axId val="197850607"/>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val>
            <c:numRef>
              <c:f>'DRT Rolling Stdev'!$H$2:$H$2454</c:f>
              <c:numCache>
                <c:formatCode>#,##0.00</c:formatCode>
                <c:ptCount val="2453"/>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2DD9-7948-A57E-ED1BFD8827E1}"/>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val>
            <c:numRef>
              <c:f>'DRT Rolling Stdev'!$J$2:$J$2454</c:f>
              <c:numCache>
                <c:formatCode>General</c:formatCode>
                <c:ptCount val="24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2DD9-7948-A57E-ED1BFD8827E1}"/>
            </c:ext>
          </c:extLst>
        </c:ser>
        <c:dLbls>
          <c:showLegendKey val="0"/>
          <c:showVal val="0"/>
          <c:showCatName val="0"/>
          <c:showSerName val="0"/>
          <c:showPercent val="0"/>
          <c:showBubbleSize val="0"/>
        </c:dLbls>
        <c:marker val="1"/>
        <c:smooth val="0"/>
        <c:axId val="194837423"/>
        <c:axId val="194411567"/>
      </c:lineChart>
      <c:catAx>
        <c:axId val="197864655"/>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7850607"/>
        <c:crosses val="autoZero"/>
        <c:auto val="1"/>
        <c:lblAlgn val="ctr"/>
        <c:lblOffset val="100"/>
        <c:noMultiLvlLbl val="0"/>
      </c:catAx>
      <c:valAx>
        <c:axId val="19785060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7864655"/>
        <c:crosses val="autoZero"/>
        <c:crossBetween val="between"/>
      </c:valAx>
      <c:valAx>
        <c:axId val="194411567"/>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4837423"/>
        <c:crosses val="max"/>
        <c:crossBetween val="between"/>
      </c:valAx>
      <c:catAx>
        <c:axId val="194837423"/>
        <c:scaling>
          <c:orientation val="minMax"/>
        </c:scaling>
        <c:delete val="1"/>
        <c:axPos val="b"/>
        <c:majorTickMark val="out"/>
        <c:minorTickMark val="none"/>
        <c:tickLblPos val="nextTo"/>
        <c:crossAx val="194411567"/>
        <c:crosses val="autoZero"/>
        <c:auto val="1"/>
        <c:lblAlgn val="ctr"/>
        <c:lblOffset val="100"/>
        <c:noMultiLvlLbl val="0"/>
      </c:catAx>
      <c:spPr>
        <a:noFill/>
        <a:ln>
          <a:noFill/>
        </a:ln>
        <a:effectLst/>
      </c:spPr>
    </c:plotArea>
    <c:legend>
      <c:legendPos val="b"/>
      <c:layout>
        <c:manualLayout>
          <c:xMode val="edge"/>
          <c:yMode val="edge"/>
          <c:x val="1.4799438774529584E-2"/>
          <c:y val="0.85071525926506442"/>
          <c:w val="0.96429875646274188"/>
          <c:h val="0.1153551761955162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US"/>
              <a:t>Correlation Coefficient Pump Failure (Raw</a:t>
            </a:r>
            <a:r>
              <a:rPr lang="en-US" baseline="0"/>
              <a:t>)</a:t>
            </a:r>
            <a:endParaRPr lang="en-US"/>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4"/>
            </a:solidFill>
            <a:ln w="9525" cap="flat" cmpd="sng" algn="ctr">
              <a:solidFill>
                <a:schemeClr val="accent1">
                  <a:shade val="95000"/>
                </a:schemeClr>
              </a:solidFill>
              <a:round/>
            </a:ln>
            <a:effectLst/>
          </c:spPr>
          <c:invertIfNegative val="0"/>
          <c:dLbls>
            <c:numFmt formatCode="#,##0.00" sourceLinked="0"/>
            <c:spPr>
              <a:solidFill>
                <a:schemeClr val="bg2">
                  <a:alpha val="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B$38:$B$44</c:f>
              <c:numCache>
                <c:formatCode>0.0000</c:formatCode>
                <c:ptCount val="7"/>
                <c:pt idx="0">
                  <c:v>0.42183658455829925</c:v>
                </c:pt>
                <c:pt idx="1">
                  <c:v>0.26001285258420193</c:v>
                </c:pt>
                <c:pt idx="2">
                  <c:v>0.23317535657717167</c:v>
                </c:pt>
                <c:pt idx="3">
                  <c:v>0.20801103648864624</c:v>
                </c:pt>
                <c:pt idx="4">
                  <c:v>-0.10248792792254234</c:v>
                </c:pt>
                <c:pt idx="5">
                  <c:v>-0.10268235109678094</c:v>
                </c:pt>
                <c:pt idx="6">
                  <c:v>-0.11211257847446812</c:v>
                </c:pt>
              </c:numCache>
            </c:numRef>
          </c:val>
          <c:extLst>
            <c:ext xmlns:c16="http://schemas.microsoft.com/office/drawing/2014/chart" uri="{C3380CC4-5D6E-409C-BE32-E72D297353CC}">
              <c16:uniqueId val="{00000000-8575-8C48-8EA4-4A0AE99866BB}"/>
            </c:ext>
          </c:extLst>
        </c:ser>
        <c:dLbls>
          <c:dLblPos val="inEnd"/>
          <c:showLegendKey val="0"/>
          <c:showVal val="1"/>
          <c:showCatName val="0"/>
          <c:showSerName val="0"/>
          <c:showPercent val="0"/>
          <c:showBubbleSize val="0"/>
        </c:dLbls>
        <c:gapWidth val="100"/>
        <c:overlap val="-33"/>
        <c:axId val="1725772656"/>
        <c:axId val="1725857488"/>
      </c:barChart>
      <c:catAx>
        <c:axId val="17257726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1725857488"/>
        <c:crosses val="autoZero"/>
        <c:auto val="1"/>
        <c:lblAlgn val="ctr"/>
        <c:lblOffset val="100"/>
        <c:noMultiLvlLbl val="0"/>
      </c:catAx>
      <c:valAx>
        <c:axId val="1725857488"/>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1725772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US"/>
              <a:t>Correlation Coefficient Pump Failure (Rolling</a:t>
            </a:r>
            <a:r>
              <a:rPr lang="en-US" baseline="0"/>
              <a:t> Mean)</a:t>
            </a:r>
            <a:endParaRPr lang="en-US"/>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5"/>
            </a:solidFill>
            <a:ln w="9525" cap="flat" cmpd="sng" algn="ctr">
              <a:solidFill>
                <a:schemeClr val="accent1">
                  <a:shade val="95000"/>
                </a:schemeClr>
              </a:solidFill>
              <a:round/>
            </a:ln>
            <a:effectLst/>
          </c:spPr>
          <c:invertIfNegative val="0"/>
          <c:dLbls>
            <c:numFmt formatCode="#,##0.00" sourceLinked="0"/>
            <c:spPr>
              <a:solidFill>
                <a:schemeClr val="bg2">
                  <a:alpha val="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8:$N$44</c:f>
              <c:numCache>
                <c:formatCode>0.0000</c:formatCode>
                <c:ptCount val="7"/>
                <c:pt idx="0">
                  <c:v>0.2180319818536855</c:v>
                </c:pt>
                <c:pt idx="1">
                  <c:v>-0.18417032717917944</c:v>
                </c:pt>
                <c:pt idx="2">
                  <c:v>-0.21602721504457051</c:v>
                </c:pt>
                <c:pt idx="3">
                  <c:v>-0.30265189651678887</c:v>
                </c:pt>
                <c:pt idx="4">
                  <c:v>-0.69244309318419739</c:v>
                </c:pt>
                <c:pt idx="5">
                  <c:v>-0.69502775093101643</c:v>
                </c:pt>
                <c:pt idx="6">
                  <c:v>-0.69773116823026105</c:v>
                </c:pt>
              </c:numCache>
            </c:numRef>
          </c:val>
          <c:extLst>
            <c:ext xmlns:c16="http://schemas.microsoft.com/office/drawing/2014/chart" uri="{C3380CC4-5D6E-409C-BE32-E72D297353CC}">
              <c16:uniqueId val="{00000000-99F5-4B41-A9B4-32B9CDCB2C5D}"/>
            </c:ext>
          </c:extLst>
        </c:ser>
        <c:dLbls>
          <c:dLblPos val="inEnd"/>
          <c:showLegendKey val="0"/>
          <c:showVal val="1"/>
          <c:showCatName val="0"/>
          <c:showSerName val="0"/>
          <c:showPercent val="0"/>
          <c:showBubbleSize val="0"/>
        </c:dLbls>
        <c:gapWidth val="100"/>
        <c:overlap val="-33"/>
        <c:axId val="1725772656"/>
        <c:axId val="1725857488"/>
      </c:barChart>
      <c:catAx>
        <c:axId val="17257726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1725857488"/>
        <c:crosses val="autoZero"/>
        <c:auto val="1"/>
        <c:lblAlgn val="ctr"/>
        <c:lblOffset val="100"/>
        <c:noMultiLvlLbl val="0"/>
      </c:catAx>
      <c:valAx>
        <c:axId val="1725857488"/>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1725772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US"/>
              <a:t>Correlation Coefficient Pump Failure (Rolling</a:t>
            </a:r>
            <a:r>
              <a:rPr lang="en-US" baseline="0"/>
              <a:t> STDev)</a:t>
            </a:r>
            <a:endParaRPr lang="en-US"/>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92D050"/>
            </a:solidFill>
            <a:ln w="9525" cap="flat" cmpd="sng" algn="ctr">
              <a:solidFill>
                <a:schemeClr val="accent1">
                  <a:shade val="95000"/>
                </a:schemeClr>
              </a:solidFill>
              <a:round/>
            </a:ln>
            <a:effectLst/>
          </c:spPr>
          <c:invertIfNegative val="0"/>
          <c:dLbls>
            <c:numFmt formatCode="#,##0.00" sourceLinked="0"/>
            <c:spPr>
              <a:solidFill>
                <a:schemeClr val="bg2">
                  <a:alpha val="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F848-1843-8C9E-32DADD0DBF12}"/>
            </c:ext>
          </c:extLst>
        </c:ser>
        <c:dLbls>
          <c:dLblPos val="inEnd"/>
          <c:showLegendKey val="0"/>
          <c:showVal val="1"/>
          <c:showCatName val="0"/>
          <c:showSerName val="0"/>
          <c:showPercent val="0"/>
          <c:showBubbleSize val="0"/>
        </c:dLbls>
        <c:gapWidth val="100"/>
        <c:overlap val="-33"/>
        <c:axId val="1725772656"/>
        <c:axId val="1725857488"/>
      </c:barChart>
      <c:catAx>
        <c:axId val="172577265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1725857488"/>
        <c:crosses val="autoZero"/>
        <c:auto val="1"/>
        <c:lblAlgn val="ctr"/>
        <c:lblOffset val="100"/>
        <c:noMultiLvlLbl val="0"/>
      </c:catAx>
      <c:valAx>
        <c:axId val="1725857488"/>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1725772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egression Coefficients For Measuremen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5">
                <a:lumMod val="60000"/>
                <a:lumOff val="40000"/>
              </a:schemeClr>
            </a:solidFill>
            <a:ln>
              <a:solidFill>
                <a:schemeClr val="accent5">
                  <a:lumMod val="75000"/>
                </a:schemeClr>
              </a:solidFill>
            </a:ln>
            <a:effectLst/>
          </c:spPr>
          <c:invertIfNegative val="0"/>
          <c:dLbls>
            <c:numFmt formatCode="#,##0.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Preparation'!$R$5:$R$12</c:f>
              <c:strCache>
                <c:ptCount val="8"/>
                <c:pt idx="0">
                  <c:v>Horse Power</c:v>
                </c:pt>
                <c:pt idx="1">
                  <c:v>Pump Efficiency</c:v>
                </c:pt>
                <c:pt idx="2">
                  <c:v>Volumetric Flow Meter 1</c:v>
                </c:pt>
                <c:pt idx="3">
                  <c:v>Ambient Temperature</c:v>
                </c:pt>
                <c:pt idx="4">
                  <c:v>Pump Speed (RPM)</c:v>
                </c:pt>
                <c:pt idx="5">
                  <c:v>Pump Torque </c:v>
                </c:pt>
                <c:pt idx="6">
                  <c:v>Intercept</c:v>
                </c:pt>
                <c:pt idx="7">
                  <c:v>Volumetric Flow Meter 2</c:v>
                </c:pt>
              </c:strCache>
            </c:strRef>
          </c:cat>
          <c:val>
            <c:numRef>
              <c:f>'Data Preparation'!$S$5:$S$12</c:f>
              <c:numCache>
                <c:formatCode>General</c:formatCode>
                <c:ptCount val="8"/>
                <c:pt idx="0">
                  <c:v>0.76484538800000001</c:v>
                </c:pt>
                <c:pt idx="1">
                  <c:v>0.34236589000000001</c:v>
                </c:pt>
                <c:pt idx="2">
                  <c:v>5.0933944000000002E-2</c:v>
                </c:pt>
                <c:pt idx="3">
                  <c:v>1.8206887000000001E-2</c:v>
                </c:pt>
                <c:pt idx="4">
                  <c:v>-1.7867336000000001E-2</c:v>
                </c:pt>
                <c:pt idx="5">
                  <c:v>-1.8901995000000001E-2</c:v>
                </c:pt>
                <c:pt idx="6">
                  <c:v>-3.5779667000000001E-2</c:v>
                </c:pt>
                <c:pt idx="7">
                  <c:v>-0.61136433000000001</c:v>
                </c:pt>
              </c:numCache>
            </c:numRef>
          </c:val>
          <c:extLst>
            <c:ext xmlns:c16="http://schemas.microsoft.com/office/drawing/2014/chart" uri="{C3380CC4-5D6E-409C-BE32-E72D297353CC}">
              <c16:uniqueId val="{00000000-7E5C-3847-9725-C3C04D5B9122}"/>
            </c:ext>
          </c:extLst>
        </c:ser>
        <c:dLbls>
          <c:dLblPos val="inEnd"/>
          <c:showLegendKey val="0"/>
          <c:showVal val="1"/>
          <c:showCatName val="0"/>
          <c:showSerName val="0"/>
          <c:showPercent val="0"/>
          <c:showBubbleSize val="0"/>
        </c:dLbls>
        <c:gapWidth val="219"/>
        <c:overlap val="-27"/>
        <c:axId val="1603008496"/>
        <c:axId val="1603010144"/>
      </c:barChart>
      <c:catAx>
        <c:axId val="16030084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3010144"/>
        <c:crosses val="autoZero"/>
        <c:auto val="1"/>
        <c:lblAlgn val="ctr"/>
        <c:lblOffset val="100"/>
        <c:noMultiLvlLbl val="0"/>
      </c:catAx>
      <c:valAx>
        <c:axId val="1603010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3008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4/4/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4"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Layout" Target="../slideLayouts/slideLayout2.xml"/><Relationship Id="rId5" Type="http://schemas.openxmlformats.org/officeDocument/2006/relationships/image" Target="../media/image6.emf"/><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303213" y="1238975"/>
            <a:ext cx="3665537" cy="2677656"/>
          </a:xfrm>
          <a:prstGeom prst="rect">
            <a:avLst/>
          </a:prstGeom>
        </p:spPr>
        <p:txBody>
          <a:bodyPr wrap="square">
            <a:spAutoFit/>
          </a:bodyPr>
          <a:lstStyle/>
          <a:p>
            <a:pPr lvl="0">
              <a:defRPr/>
            </a:pPr>
            <a:r>
              <a:rPr lang="en-AU" sz="1200" b="1" dirty="0"/>
              <a:t>The first slide we want to show is our overall conclusion showcasing that we have been able to effectively create a multivariate regressive equation that models Pump Failure.</a:t>
            </a:r>
          </a:p>
          <a:p>
            <a:pPr lvl="0">
              <a:defRPr/>
            </a:pPr>
            <a:br>
              <a:rPr lang="en-AU" sz="1200" b="1" dirty="0"/>
            </a:br>
            <a:r>
              <a:rPr lang="en-AU" sz="1200" b="1" dirty="0"/>
              <a:t>On this slide, we would like you to show two charts:</a:t>
            </a:r>
            <a:br>
              <a:rPr lang="en-AU" sz="1200" b="1" dirty="0"/>
            </a:br>
            <a:r>
              <a:rPr lang="en-AU" sz="1200" b="1" dirty="0"/>
              <a:t>A) Using a line-series chart, show the Multivariate Regression Equation Values you’ve developed versus the Pump Failure (1 or 0)</a:t>
            </a:r>
          </a:p>
          <a:p>
            <a:pPr lvl="0">
              <a:defRPr/>
            </a:pPr>
            <a:endParaRPr lang="en-AU" sz="1200" b="1" dirty="0"/>
          </a:p>
          <a:p>
            <a:pPr lvl="0">
              <a:defRPr/>
            </a:pPr>
            <a:r>
              <a:rPr lang="en-AU" sz="1200" b="1" dirty="0"/>
              <a:t>B) Using a Column Chart, show the correlations ranked from highest-to-lowest for the Rolling Standard Deviation Dataset</a:t>
            </a:r>
          </a:p>
        </p:txBody>
      </p: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9" name="Chart 8">
            <a:extLst>
              <a:ext uri="{FF2B5EF4-FFF2-40B4-BE49-F238E27FC236}">
                <a16:creationId xmlns:a16="http://schemas.microsoft.com/office/drawing/2014/main" id="{3A019321-C657-7B40-AD31-1D8F54E0C4D6}"/>
              </a:ext>
            </a:extLst>
          </p:cNvPr>
          <p:cNvGraphicFramePr>
            <a:graphicFrameLocks/>
          </p:cNvGraphicFramePr>
          <p:nvPr>
            <p:extLst>
              <p:ext uri="{D42A27DB-BD31-4B8C-83A1-F6EECF244321}">
                <p14:modId xmlns:p14="http://schemas.microsoft.com/office/powerpoint/2010/main" val="1423670473"/>
              </p:ext>
            </p:extLst>
          </p:nvPr>
        </p:nvGraphicFramePr>
        <p:xfrm>
          <a:off x="3968750" y="1046922"/>
          <a:ext cx="4689475" cy="28004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CD50C213-76F7-C042-B673-1B2421A631F8}"/>
              </a:ext>
            </a:extLst>
          </p:cNvPr>
          <p:cNvGraphicFramePr>
            <a:graphicFrameLocks/>
          </p:cNvGraphicFramePr>
          <p:nvPr>
            <p:extLst>
              <p:ext uri="{D42A27DB-BD31-4B8C-83A1-F6EECF244321}">
                <p14:modId xmlns:p14="http://schemas.microsoft.com/office/powerpoint/2010/main" val="1512647767"/>
              </p:ext>
            </p:extLst>
          </p:nvPr>
        </p:nvGraphicFramePr>
        <p:xfrm>
          <a:off x="303213" y="3999604"/>
          <a:ext cx="8133421" cy="2168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sp>
        <p:nvSpPr>
          <p:cNvPr id="7" name="Rectangle 6">
            <a:extLst>
              <a:ext uri="{FF2B5EF4-FFF2-40B4-BE49-F238E27FC236}">
                <a16:creationId xmlns:a16="http://schemas.microsoft.com/office/drawing/2014/main" id="{548FD5B0-4E40-45F1-A00B-B3459082779A}"/>
              </a:ext>
            </a:extLst>
          </p:cNvPr>
          <p:cNvSpPr/>
          <p:nvPr/>
        </p:nvSpPr>
        <p:spPr>
          <a:xfrm>
            <a:off x="285960" y="957921"/>
            <a:ext cx="8150674" cy="1384995"/>
          </a:xfrm>
          <a:prstGeom prst="rect">
            <a:avLst/>
          </a:prstGeom>
        </p:spPr>
        <p:txBody>
          <a:bodyPr wrap="square">
            <a:spAutoFit/>
          </a:bodyPr>
          <a:lstStyle/>
          <a:p>
            <a:pPr lvl="0">
              <a:defRPr/>
            </a:pPr>
            <a:r>
              <a:rPr lang="en-AU" sz="1200" b="1" dirty="0"/>
              <a:t>The second slide now is starting to illustrate our story further. We will transition from Descriptive Statistics through to Inferential.</a:t>
            </a:r>
          </a:p>
          <a:p>
            <a:pPr lvl="0">
              <a:defRPr/>
            </a:pPr>
            <a:endParaRPr lang="en-AU" sz="1200" b="1" dirty="0"/>
          </a:p>
          <a:p>
            <a:pPr lvl="0">
              <a:defRPr/>
            </a:pPr>
            <a:r>
              <a:rPr lang="en-AU" sz="1200" b="1" dirty="0"/>
              <a:t>On this slide, we would like you to show two charts:</a:t>
            </a:r>
            <a:br>
              <a:rPr lang="en-AU" sz="1200" b="1" dirty="0"/>
            </a:br>
            <a:r>
              <a:rPr lang="en-AU" sz="1200" b="1" dirty="0"/>
              <a:t>A) Rolling Standard Deviation Plot</a:t>
            </a:r>
          </a:p>
          <a:p>
            <a:pPr lvl="0">
              <a:defRPr/>
            </a:pPr>
            <a:r>
              <a:rPr lang="en-AU" sz="1200" b="1" dirty="0"/>
              <a:t>B) Rolling Mean Plot</a:t>
            </a:r>
          </a:p>
          <a:p>
            <a:endParaRPr lang="en-AU" sz="1200" b="1" dirty="0"/>
          </a:p>
        </p:txBody>
      </p:sp>
      <p:graphicFrame>
        <p:nvGraphicFramePr>
          <p:cNvPr id="8" name="Chart 7">
            <a:extLst>
              <a:ext uri="{FF2B5EF4-FFF2-40B4-BE49-F238E27FC236}">
                <a16:creationId xmlns:a16="http://schemas.microsoft.com/office/drawing/2014/main" id="{970ACA09-71F0-734A-9C30-D6485FE7F55F}"/>
              </a:ext>
            </a:extLst>
          </p:cNvPr>
          <p:cNvGraphicFramePr>
            <a:graphicFrameLocks/>
          </p:cNvGraphicFramePr>
          <p:nvPr>
            <p:extLst>
              <p:ext uri="{D42A27DB-BD31-4B8C-83A1-F6EECF244321}">
                <p14:modId xmlns:p14="http://schemas.microsoft.com/office/powerpoint/2010/main" val="1684560563"/>
              </p:ext>
            </p:extLst>
          </p:nvPr>
        </p:nvGraphicFramePr>
        <p:xfrm>
          <a:off x="129037" y="1863263"/>
          <a:ext cx="8523976" cy="23118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E892091F-046C-9048-ABD0-4AD1E1C89996}"/>
              </a:ext>
            </a:extLst>
          </p:cNvPr>
          <p:cNvGraphicFramePr>
            <a:graphicFrameLocks/>
          </p:cNvGraphicFramePr>
          <p:nvPr>
            <p:extLst>
              <p:ext uri="{D42A27DB-BD31-4B8C-83A1-F6EECF244321}">
                <p14:modId xmlns:p14="http://schemas.microsoft.com/office/powerpoint/2010/main" val="3059608425"/>
              </p:ext>
            </p:extLst>
          </p:nvPr>
        </p:nvGraphicFramePr>
        <p:xfrm>
          <a:off x="86624" y="4060079"/>
          <a:ext cx="8566390" cy="224582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plots show a clear signature difference between that of normal behaviour and that of Failure with Pump Torque, Pump Speed, an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AF51E9D-06DF-490B-AEE8-64E63CDAFBD8}"/>
              </a:ext>
            </a:extLst>
          </p:cNvPr>
          <p:cNvSpPr/>
          <p:nvPr/>
        </p:nvSpPr>
        <p:spPr>
          <a:xfrm>
            <a:off x="242828" y="974736"/>
            <a:ext cx="8167927" cy="2123658"/>
          </a:xfrm>
          <a:prstGeom prst="rect">
            <a:avLst/>
          </a:prstGeom>
        </p:spPr>
        <p:txBody>
          <a:bodyPr wrap="square">
            <a:spAutoFit/>
          </a:bodyPr>
          <a:lstStyle/>
          <a:p>
            <a:pPr lvl="0">
              <a:defRPr/>
            </a:pPr>
            <a:r>
              <a:rPr lang="en-AU" sz="1200" b="1" dirty="0"/>
              <a:t>The third slide will illustrate how we have made use of descriptive statistics plot to identify which variables have exhibited the largest overall variances. </a:t>
            </a:r>
          </a:p>
          <a:p>
            <a:pPr lvl="0">
              <a:defRPr/>
            </a:pPr>
            <a:endParaRPr lang="en-AU" sz="1200" b="1" dirty="0"/>
          </a:p>
          <a:p>
            <a:pPr lvl="0">
              <a:defRPr/>
            </a:pPr>
            <a:r>
              <a:rPr lang="en-AU" sz="1200" b="1" dirty="0"/>
              <a:t>On this slide, we would like you to show four charts:</a:t>
            </a:r>
            <a:br>
              <a:rPr lang="en-AU" sz="1200" b="1" dirty="0"/>
            </a:br>
            <a:r>
              <a:rPr lang="en-AU" sz="1200" b="1" dirty="0"/>
              <a:t>A) Rolling Standard Deviation Plot (Pump Failure = 1)</a:t>
            </a:r>
          </a:p>
          <a:p>
            <a:pPr lvl="0">
              <a:defRPr/>
            </a:pPr>
            <a:r>
              <a:rPr lang="en-AU" sz="1200" b="1" dirty="0"/>
              <a:t>B) Rolling Standard Deviation Plot (Pump Failure = 0) </a:t>
            </a:r>
          </a:p>
          <a:p>
            <a:pPr lvl="0">
              <a:defRPr/>
            </a:pPr>
            <a:r>
              <a:rPr lang="en-AU" sz="1200" b="1" dirty="0"/>
              <a:t>C) Rolling Mean Plot (Pump Failure = 1)</a:t>
            </a:r>
          </a:p>
          <a:p>
            <a:pPr lvl="0">
              <a:defRPr/>
            </a:pPr>
            <a:r>
              <a:rPr lang="en-AU" sz="1200" b="1" dirty="0"/>
              <a:t>D) Rolling Mean Plot (Pump Failure = 0) </a:t>
            </a:r>
          </a:p>
          <a:p>
            <a:pPr lvl="0">
              <a:defRPr/>
            </a:pPr>
            <a:endParaRPr lang="en-AU" sz="1200" b="1" dirty="0"/>
          </a:p>
          <a:p>
            <a:pPr lvl="0">
              <a:defRPr/>
            </a:pPr>
            <a:endParaRPr lang="en-AU" sz="1200" b="1" dirty="0"/>
          </a:p>
          <a:p>
            <a:endParaRPr lang="en-AU" sz="1200" b="1" dirty="0"/>
          </a:p>
        </p:txBody>
      </p:sp>
      <p:sp>
        <p:nvSpPr>
          <p:cNvPr id="7" name="TextBox 6">
            <a:extLst>
              <a:ext uri="{FF2B5EF4-FFF2-40B4-BE49-F238E27FC236}">
                <a16:creationId xmlns:a16="http://schemas.microsoft.com/office/drawing/2014/main" id="{226E5207-9197-48D6-B5F6-50575C4A336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pic>
        <p:nvPicPr>
          <p:cNvPr id="8" name="Picture 7">
            <a:extLst>
              <a:ext uri="{FF2B5EF4-FFF2-40B4-BE49-F238E27FC236}">
                <a16:creationId xmlns:a16="http://schemas.microsoft.com/office/drawing/2014/main" id="{DBFFD2E7-2E7C-DA4C-8959-8F8DC9F1C1A5}"/>
              </a:ext>
            </a:extLst>
          </p:cNvPr>
          <p:cNvPicPr>
            <a:picLocks noChangeAspect="1"/>
          </p:cNvPicPr>
          <p:nvPr/>
        </p:nvPicPr>
        <p:blipFill>
          <a:blip r:embed="rId2"/>
          <a:stretch>
            <a:fillRect/>
          </a:stretch>
        </p:blipFill>
        <p:spPr>
          <a:xfrm>
            <a:off x="4260698" y="2414328"/>
            <a:ext cx="4377364" cy="2045036"/>
          </a:xfrm>
          <a:prstGeom prst="rect">
            <a:avLst/>
          </a:prstGeom>
        </p:spPr>
      </p:pic>
      <p:pic>
        <p:nvPicPr>
          <p:cNvPr id="9" name="Picture 8">
            <a:extLst>
              <a:ext uri="{FF2B5EF4-FFF2-40B4-BE49-F238E27FC236}">
                <a16:creationId xmlns:a16="http://schemas.microsoft.com/office/drawing/2014/main" id="{CCDA6A69-F2E5-BD49-A286-844D812629AB}"/>
              </a:ext>
            </a:extLst>
          </p:cNvPr>
          <p:cNvPicPr>
            <a:picLocks noChangeAspect="1"/>
          </p:cNvPicPr>
          <p:nvPr/>
        </p:nvPicPr>
        <p:blipFill>
          <a:blip r:embed="rId3"/>
          <a:stretch>
            <a:fillRect/>
          </a:stretch>
        </p:blipFill>
        <p:spPr>
          <a:xfrm>
            <a:off x="4260698" y="4514085"/>
            <a:ext cx="4377364" cy="1785844"/>
          </a:xfrm>
          <a:prstGeom prst="rect">
            <a:avLst/>
          </a:prstGeom>
        </p:spPr>
      </p:pic>
      <p:pic>
        <p:nvPicPr>
          <p:cNvPr id="10" name="Picture 9">
            <a:extLst>
              <a:ext uri="{FF2B5EF4-FFF2-40B4-BE49-F238E27FC236}">
                <a16:creationId xmlns:a16="http://schemas.microsoft.com/office/drawing/2014/main" id="{A549EC14-F87E-374F-B92C-EB9F01A8E05C}"/>
              </a:ext>
            </a:extLst>
          </p:cNvPr>
          <p:cNvPicPr>
            <a:picLocks noChangeAspect="1"/>
          </p:cNvPicPr>
          <p:nvPr/>
        </p:nvPicPr>
        <p:blipFill>
          <a:blip r:embed="rId4"/>
          <a:stretch>
            <a:fillRect/>
          </a:stretch>
        </p:blipFill>
        <p:spPr>
          <a:xfrm>
            <a:off x="171449" y="2479200"/>
            <a:ext cx="3960603" cy="1980147"/>
          </a:xfrm>
          <a:prstGeom prst="rect">
            <a:avLst/>
          </a:prstGeom>
        </p:spPr>
      </p:pic>
      <p:pic>
        <p:nvPicPr>
          <p:cNvPr id="11" name="Picture 10">
            <a:extLst>
              <a:ext uri="{FF2B5EF4-FFF2-40B4-BE49-F238E27FC236}">
                <a16:creationId xmlns:a16="http://schemas.microsoft.com/office/drawing/2014/main" id="{5C9E4664-5647-7F4D-9BF3-8792B084AD5A}"/>
              </a:ext>
            </a:extLst>
          </p:cNvPr>
          <p:cNvPicPr>
            <a:picLocks noChangeAspect="1"/>
          </p:cNvPicPr>
          <p:nvPr/>
        </p:nvPicPr>
        <p:blipFill>
          <a:blip r:embed="rId5"/>
          <a:stretch>
            <a:fillRect/>
          </a:stretch>
        </p:blipFill>
        <p:spPr>
          <a:xfrm>
            <a:off x="171448" y="4520215"/>
            <a:ext cx="3960603" cy="1779713"/>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646331"/>
          </a:xfrm>
        </p:spPr>
        <p:txBody>
          <a:bodyPr/>
          <a:lstStyle/>
          <a:p>
            <a:pPr algn="just"/>
            <a:r>
              <a:rPr lang="en-AU" sz="1400" b="1" dirty="0"/>
              <a:t>Correlation analyses across datasets yield interesting insights with Volumetric Flow and Pump Efficiency negatively correlated with Pump Failure in the Rolling Mean Data, whilst Horse Power and Pump Efficiency show a subsequently strong positive correlation in the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E4384-3887-4990-8552-96D5AB244392}"/>
              </a:ext>
            </a:extLst>
          </p:cNvPr>
          <p:cNvSpPr/>
          <p:nvPr/>
        </p:nvSpPr>
        <p:spPr>
          <a:xfrm>
            <a:off x="303212" y="1238975"/>
            <a:ext cx="8307387" cy="1938992"/>
          </a:xfrm>
          <a:prstGeom prst="rect">
            <a:avLst/>
          </a:prstGeom>
        </p:spPr>
        <p:txBody>
          <a:bodyPr wrap="square">
            <a:spAutoFit/>
          </a:bodyPr>
          <a:lstStyle/>
          <a:p>
            <a:pPr lvl="0">
              <a:defRPr/>
            </a:pPr>
            <a:r>
              <a:rPr lang="en-AU" sz="1200" b="1" dirty="0"/>
              <a:t>The fourth slide will illustrate how we have made use of inferential statistics to identify which variables have exhibited the largest correlation spreads. </a:t>
            </a:r>
          </a:p>
          <a:p>
            <a:pPr lvl="0">
              <a:defRPr/>
            </a:pPr>
            <a:endParaRPr lang="en-AU" sz="1200" b="1" dirty="0"/>
          </a:p>
          <a:p>
            <a:pPr lvl="0">
              <a:defRPr/>
            </a:pPr>
            <a:r>
              <a:rPr lang="en-AU" sz="1200" b="1" dirty="0"/>
              <a:t>On this slide, we would like you to show three charts.</a:t>
            </a:r>
          </a:p>
          <a:p>
            <a:pPr lvl="0">
              <a:defRPr/>
            </a:pPr>
            <a:r>
              <a:rPr lang="en-AU" sz="1200" b="1" dirty="0"/>
              <a:t>A) Raw Dataset Correlation against Pump Failure </a:t>
            </a:r>
          </a:p>
          <a:p>
            <a:pPr lvl="0">
              <a:defRPr/>
            </a:pPr>
            <a:r>
              <a:rPr lang="en-AU" sz="1200" b="1" dirty="0"/>
              <a:t>B) Rolling Mean Dataset Correlation against Pump Failure </a:t>
            </a:r>
          </a:p>
          <a:p>
            <a:pPr>
              <a:defRPr/>
            </a:pPr>
            <a:r>
              <a:rPr lang="en-AU" sz="1200" b="1" dirty="0"/>
              <a:t>C) Rolling Standard Deviation Dataset Correlation against Pump Failure </a:t>
            </a:r>
          </a:p>
          <a:p>
            <a:pPr lvl="0">
              <a:defRPr/>
            </a:pPr>
            <a:endParaRPr lang="en-AU" sz="1200" b="1" dirty="0"/>
          </a:p>
          <a:p>
            <a:endParaRPr lang="en-AU" sz="1200" b="1" dirty="0"/>
          </a:p>
          <a:p>
            <a:endParaRPr lang="en-AU" sz="1200" b="1" dirty="0"/>
          </a:p>
        </p:txBody>
      </p:sp>
      <p:sp>
        <p:nvSpPr>
          <p:cNvPr id="6" name="TextBox 5">
            <a:extLst>
              <a:ext uri="{FF2B5EF4-FFF2-40B4-BE49-F238E27FC236}">
                <a16:creationId xmlns:a16="http://schemas.microsoft.com/office/drawing/2014/main" id="{4A968194-61AD-4C31-A189-FF4A210F4FA3}"/>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8" name="Chart 7">
            <a:extLst>
              <a:ext uri="{FF2B5EF4-FFF2-40B4-BE49-F238E27FC236}">
                <a16:creationId xmlns:a16="http://schemas.microsoft.com/office/drawing/2014/main" id="{13912D8C-B5BE-1946-BCE6-6ACE5FCCCDAA}"/>
              </a:ext>
            </a:extLst>
          </p:cNvPr>
          <p:cNvGraphicFramePr>
            <a:graphicFrameLocks/>
          </p:cNvGraphicFramePr>
          <p:nvPr>
            <p:extLst>
              <p:ext uri="{D42A27DB-BD31-4B8C-83A1-F6EECF244321}">
                <p14:modId xmlns:p14="http://schemas.microsoft.com/office/powerpoint/2010/main" val="2642802551"/>
              </p:ext>
            </p:extLst>
          </p:nvPr>
        </p:nvGraphicFramePr>
        <p:xfrm>
          <a:off x="171450" y="2596551"/>
          <a:ext cx="3046203" cy="381282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10E2DEC2-5633-7846-AD80-37FA6B1352CB}"/>
              </a:ext>
            </a:extLst>
          </p:cNvPr>
          <p:cNvGraphicFramePr>
            <a:graphicFrameLocks/>
          </p:cNvGraphicFramePr>
          <p:nvPr>
            <p:extLst>
              <p:ext uri="{D42A27DB-BD31-4B8C-83A1-F6EECF244321}">
                <p14:modId xmlns:p14="http://schemas.microsoft.com/office/powerpoint/2010/main" val="1650429178"/>
              </p:ext>
            </p:extLst>
          </p:nvPr>
        </p:nvGraphicFramePr>
        <p:xfrm>
          <a:off x="3285588" y="2596551"/>
          <a:ext cx="3046202" cy="38128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CD50C213-76F7-C042-B673-1B2421A631F8}"/>
              </a:ext>
            </a:extLst>
          </p:cNvPr>
          <p:cNvGraphicFramePr>
            <a:graphicFrameLocks/>
          </p:cNvGraphicFramePr>
          <p:nvPr>
            <p:extLst>
              <p:ext uri="{D42A27DB-BD31-4B8C-83A1-F6EECF244321}">
                <p14:modId xmlns:p14="http://schemas.microsoft.com/office/powerpoint/2010/main" val="1815452708"/>
              </p:ext>
            </p:extLst>
          </p:nvPr>
        </p:nvGraphicFramePr>
        <p:xfrm>
          <a:off x="6211931" y="2596550"/>
          <a:ext cx="2681903" cy="381282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Lastly, analysis of the model fit reveals that with a R Squared of .018 a linear model is a bad fit for the data with variables X, Y and Z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349F53E-88E6-4D79-9588-9BEAF3EEC79C}"/>
              </a:ext>
            </a:extLst>
          </p:cNvPr>
          <p:cNvSpPr/>
          <p:nvPr/>
        </p:nvSpPr>
        <p:spPr>
          <a:xfrm>
            <a:off x="501035" y="4089985"/>
            <a:ext cx="8194847" cy="1938992"/>
          </a:xfrm>
          <a:prstGeom prst="rect">
            <a:avLst/>
          </a:prstGeom>
        </p:spPr>
        <p:txBody>
          <a:bodyPr wrap="square">
            <a:spAutoFit/>
          </a:bodyPr>
          <a:lstStyle/>
          <a:p>
            <a:pPr lvl="0">
              <a:defRPr/>
            </a:pPr>
            <a:r>
              <a:rPr lang="en-AU" sz="1200" b="1" dirty="0"/>
              <a:t>The fifth and final slide will close out our story and showcase how we have identified which variables have the highest regression coefficients in our Multivariate Linear Regression Model.</a:t>
            </a:r>
          </a:p>
          <a:p>
            <a:pPr lvl="0">
              <a:defRPr/>
            </a:pPr>
            <a:endParaRPr lang="en-AU" sz="1200" b="1" dirty="0"/>
          </a:p>
          <a:p>
            <a:pPr lvl="0">
              <a:defRPr/>
            </a:pPr>
            <a:r>
              <a:rPr lang="en-AU" sz="1200" b="1" dirty="0"/>
              <a:t>On this slide, we would like you to show one chart:</a:t>
            </a:r>
          </a:p>
          <a:p>
            <a:pPr lvl="0">
              <a:defRPr/>
            </a:pPr>
            <a:endParaRPr lang="en-AU" sz="1200" b="1" dirty="0"/>
          </a:p>
          <a:p>
            <a:pPr marL="228600" lvl="0" indent="-228600">
              <a:buAutoNum type="alphaUcParenR"/>
              <a:defRPr/>
            </a:pPr>
            <a:r>
              <a:rPr lang="en-AU" sz="1200" b="1" dirty="0"/>
              <a:t>Create a column-chart from the Multivariate Regression which shows the Regression Coefficients ordered from highest to lowest (i.e. The variable with the largest co-efficient has the highest rate-of-change with respect to Pump Failure)</a:t>
            </a:r>
          </a:p>
          <a:p>
            <a:pPr lvl="0">
              <a:defRPr/>
            </a:pPr>
            <a:endParaRPr lang="en-AU" sz="1200" b="1" dirty="0"/>
          </a:p>
          <a:p>
            <a:endParaRPr lang="en-AU" sz="1200" b="1" dirty="0"/>
          </a:p>
        </p:txBody>
      </p:sp>
      <p:graphicFrame>
        <p:nvGraphicFramePr>
          <p:cNvPr id="6" name="Chart 5">
            <a:extLst>
              <a:ext uri="{FF2B5EF4-FFF2-40B4-BE49-F238E27FC236}">
                <a16:creationId xmlns:a16="http://schemas.microsoft.com/office/drawing/2014/main" id="{1010FA8F-5586-4346-802E-95F2495DE624}"/>
              </a:ext>
            </a:extLst>
          </p:cNvPr>
          <p:cNvGraphicFramePr>
            <a:graphicFrameLocks/>
          </p:cNvGraphicFramePr>
          <p:nvPr>
            <p:extLst>
              <p:ext uri="{D42A27DB-BD31-4B8C-83A1-F6EECF244321}">
                <p14:modId xmlns:p14="http://schemas.microsoft.com/office/powerpoint/2010/main" val="3963942139"/>
              </p:ext>
            </p:extLst>
          </p:nvPr>
        </p:nvGraphicFramePr>
        <p:xfrm>
          <a:off x="256733" y="1026545"/>
          <a:ext cx="8524431" cy="282083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52</TotalTime>
  <Words>736</Words>
  <Application>Microsoft Macintosh PowerPoint</Application>
  <PresentationFormat>Custom</PresentationFormat>
  <Paragraphs>44</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plots show a clear signature difference between that of normal behaviour and that of Failure with Pump Torque, Pump Speed, and Pump Efficiency showing the 3 largest variances.</vt:lpstr>
      <vt:lpstr>Correlation analyses across datasets yield interesting insights with Volumetric Flow and Pump Efficiency negatively correlated with Pump Failure in the Rolling Mean Data, whilst Horse Power and Pump Efficiency show a subsequently strong positive correlation in the Rolling Stdev Dataset. </vt:lpstr>
      <vt:lpstr>Lastly, analysis of the model fit reveals that with a R Squared of .018 a linear model is a bad fit for the data with variables X, Y and Z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Ellie Rochford</cp:lastModifiedBy>
  <cp:revision>86</cp:revision>
  <dcterms:created xsi:type="dcterms:W3CDTF">2020-04-12T13:23:13Z</dcterms:created>
  <dcterms:modified xsi:type="dcterms:W3CDTF">2022-04-14T20:24:34Z</dcterms:modified>
</cp:coreProperties>
</file>